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media/image24.svg" ContentType="image/svg+xml"/>
  <Override PartName="/ppt/media/image26.svg" ContentType="image/svg+xml"/>
  <Override PartName="/ppt/media/image28.svg" ContentType="image/svg+xml"/>
  <Override PartName="/ppt/media/image5.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p:sldMasterIdLst>
    <p:sldMasterId id="2147483648" r:id="rId1"/>
    <p:sldMasterId id="2147483664" r:id="rId3"/>
    <p:sldMasterId id="2147483676" r:id="rId4"/>
  </p:sldMasterIdLst>
  <p:notesMasterIdLst>
    <p:notesMasterId r:id="rId7"/>
  </p:notesMasterIdLst>
  <p:handoutMasterIdLst>
    <p:handoutMasterId r:id="rId60"/>
  </p:handoutMasterIdLst>
  <p:sldIdLst>
    <p:sldId id="1559" r:id="rId5"/>
    <p:sldId id="1572" r:id="rId6"/>
    <p:sldId id="1548" r:id="rId8"/>
    <p:sldId id="1477" r:id="rId9"/>
    <p:sldId id="1478" r:id="rId10"/>
    <p:sldId id="1479" r:id="rId11"/>
    <p:sldId id="488" r:id="rId12"/>
    <p:sldId id="1600" r:id="rId13"/>
    <p:sldId id="1198" r:id="rId14"/>
    <p:sldId id="418" r:id="rId15"/>
    <p:sldId id="373" r:id="rId16"/>
    <p:sldId id="374" r:id="rId17"/>
    <p:sldId id="375" r:id="rId18"/>
    <p:sldId id="378" r:id="rId19"/>
    <p:sldId id="1573" r:id="rId20"/>
    <p:sldId id="661" r:id="rId21"/>
    <p:sldId id="1602" r:id="rId22"/>
    <p:sldId id="1603" r:id="rId23"/>
    <p:sldId id="1604" r:id="rId24"/>
    <p:sldId id="1605" r:id="rId25"/>
    <p:sldId id="1634" r:id="rId26"/>
    <p:sldId id="1607" r:id="rId27"/>
    <p:sldId id="1609" r:id="rId28"/>
    <p:sldId id="1610" r:id="rId29"/>
    <p:sldId id="1611" r:id="rId30"/>
    <p:sldId id="1612" r:id="rId31"/>
    <p:sldId id="1613" r:id="rId32"/>
    <p:sldId id="1614" r:id="rId33"/>
    <p:sldId id="1615" r:id="rId34"/>
    <p:sldId id="1616" r:id="rId35"/>
    <p:sldId id="1617" r:id="rId36"/>
    <p:sldId id="1618" r:id="rId37"/>
    <p:sldId id="1619" r:id="rId38"/>
    <p:sldId id="1620" r:id="rId39"/>
    <p:sldId id="1621" r:id="rId40"/>
    <p:sldId id="1622" r:id="rId41"/>
    <p:sldId id="1623" r:id="rId42"/>
    <p:sldId id="1624" r:id="rId43"/>
    <p:sldId id="1625" r:id="rId44"/>
    <p:sldId id="1626" r:id="rId45"/>
    <p:sldId id="1627" r:id="rId46"/>
    <p:sldId id="1628" r:id="rId47"/>
    <p:sldId id="1570" r:id="rId48"/>
    <p:sldId id="1629" r:id="rId49"/>
    <p:sldId id="1630" r:id="rId50"/>
    <p:sldId id="396" r:id="rId51"/>
    <p:sldId id="397" r:id="rId52"/>
    <p:sldId id="534" r:id="rId53"/>
    <p:sldId id="390" r:id="rId54"/>
    <p:sldId id="829" r:id="rId55"/>
    <p:sldId id="830" r:id="rId56"/>
    <p:sldId id="831" r:id="rId57"/>
    <p:sldId id="399" r:id="rId58"/>
    <p:sldId id="1569" r:id="rId59"/>
  </p:sldIdLst>
  <p:sldSz cx="9144000" cy="6858000" type="screen4x3"/>
  <p:notesSz cx="6858000" cy="9144000"/>
  <p:custDataLst>
    <p:tags r:id="rId64"/>
  </p:custDataLst>
  <p:defaultTextStyle>
    <a:defPPr>
      <a:defRPr lang="en-US"/>
    </a:defPPr>
    <a:lvl1pPr algn="l" rtl="0" eaLnBrk="0" fontAlgn="base" hangingPunct="0">
      <a:spcBef>
        <a:spcPct val="0"/>
      </a:spcBef>
      <a:spcAft>
        <a:spcPct val="0"/>
      </a:spcAft>
      <a:defRPr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kern="1200">
        <a:solidFill>
          <a:schemeClr val="tx1"/>
        </a:solidFill>
        <a:latin typeface="Times New Roman" panose="02020603050405020304" pitchFamily="18" charset="0"/>
        <a:ea typeface="+mn-ea"/>
        <a:cs typeface="+mn-cs"/>
      </a:defRPr>
    </a:lvl5pPr>
    <a:lvl6pPr marL="2286000" algn="l" defTabSz="914400" rtl="0" eaLnBrk="1" latinLnBrk="0" hangingPunct="1">
      <a:defRPr kern="1200">
        <a:solidFill>
          <a:schemeClr val="tx1"/>
        </a:solidFill>
        <a:latin typeface="Times New Roman" panose="02020603050405020304" pitchFamily="18" charset="0"/>
        <a:ea typeface="+mn-ea"/>
        <a:cs typeface="+mn-cs"/>
      </a:defRPr>
    </a:lvl6pPr>
    <a:lvl7pPr marL="2743200" algn="l" defTabSz="914400" rtl="0" eaLnBrk="1" latinLnBrk="0" hangingPunct="1">
      <a:defRPr kern="1200">
        <a:solidFill>
          <a:schemeClr val="tx1"/>
        </a:solidFill>
        <a:latin typeface="Times New Roman" panose="02020603050405020304" pitchFamily="18" charset="0"/>
        <a:ea typeface="+mn-ea"/>
        <a:cs typeface="+mn-cs"/>
      </a:defRPr>
    </a:lvl7pPr>
    <a:lvl8pPr marL="3200400" algn="l" defTabSz="914400" rtl="0" eaLnBrk="1" latinLnBrk="0" hangingPunct="1">
      <a:defRPr kern="1200">
        <a:solidFill>
          <a:schemeClr val="tx1"/>
        </a:solidFill>
        <a:latin typeface="Times New Roman" panose="02020603050405020304" pitchFamily="18" charset="0"/>
        <a:ea typeface="+mn-ea"/>
        <a:cs typeface="+mn-cs"/>
      </a:defRPr>
    </a:lvl8pPr>
    <a:lvl9pPr marL="3657600" algn="l" defTabSz="914400" rtl="0" eaLnBrk="1" latinLnBrk="0" hangingPunct="1">
      <a:defRPr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9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FFFF"/>
    <a:srgbClr val="28517A"/>
    <a:srgbClr val="FF180D"/>
    <a:srgbClr val="FF4F49"/>
    <a:srgbClr val="FFF8FF"/>
    <a:srgbClr val="FE0000"/>
    <a:srgbClr val="CC0000"/>
    <a:srgbClr val="CC00CC"/>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66" autoAdjust="0"/>
  </p:normalViewPr>
  <p:slideViewPr>
    <p:cSldViewPr showGuides="1">
      <p:cViewPr varScale="1">
        <p:scale>
          <a:sx n="99" d="100"/>
          <a:sy n="99" d="100"/>
        </p:scale>
        <p:origin x="772" y="56"/>
      </p:cViewPr>
      <p:guideLst>
        <p:guide orient="horz" pos="2136"/>
        <p:guide pos="2916"/>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4" Type="http://schemas.openxmlformats.org/officeDocument/2006/relationships/tags" Target="tags/tag287.xml"/><Relationship Id="rId63" Type="http://schemas.openxmlformats.org/officeDocument/2006/relationships/tableStyles" Target="tableStyles.xml"/><Relationship Id="rId62" Type="http://schemas.openxmlformats.org/officeDocument/2006/relationships/viewProps" Target="viewProps.xml"/><Relationship Id="rId61" Type="http://schemas.openxmlformats.org/officeDocument/2006/relationships/presProps" Target="presProps.xml"/><Relationship Id="rId60" Type="http://schemas.openxmlformats.org/officeDocument/2006/relationships/handoutMaster" Target="handoutMasters/handoutMaster1.xml"/><Relationship Id="rId6" Type="http://schemas.openxmlformats.org/officeDocument/2006/relationships/slide" Target="slides/slide2.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1864C6FF-607E-48C0-8756-FA38E578F787}" type="doc">
      <dgm:prSet loTypeId="urn:microsoft.com/office/officeart/2009/layout/CircleArrowProcess#1" loCatId="process" qsTypeId="urn:microsoft.com/office/officeart/2005/8/quickstyle/3d1#1" qsCatId="3D" csTypeId="urn:microsoft.com/office/officeart/2005/8/colors/accent1_2#1" csCatId="accent1" phldr="1"/>
      <dgm:spPr/>
      <dgm:t>
        <a:bodyPr/>
        <a:lstStyle/>
        <a:p>
          <a:endParaRPr lang="en-US"/>
        </a:p>
      </dgm:t>
    </dgm:pt>
    <dgm:pt modelId="{FBAAA69D-6CAB-4E34-8E6C-B5DA3C97AC60}">
      <dgm:prSet phldrT="[Text]"/>
      <dgm:spPr/>
      <dgm:t>
        <a:bodyPr/>
        <a:lstStyle/>
        <a:p>
          <a:r>
            <a:rPr lang="zh-CN" altLang="en-US" b="1" dirty="0">
              <a:latin typeface="华文楷体" panose="02010600040101010101" pitchFamily="2" charset="-122"/>
              <a:ea typeface="华文楷体" panose="02010600040101010101" pitchFamily="2" charset="-122"/>
            </a:rPr>
            <a:t>多学科</a:t>
          </a:r>
          <a:endParaRPr lang="en-US" b="1" dirty="0">
            <a:latin typeface="华文楷体" panose="02010600040101010101" pitchFamily="2" charset="-122"/>
            <a:ea typeface="华文楷体" panose="02010600040101010101" pitchFamily="2" charset="-122"/>
          </a:endParaRPr>
        </a:p>
      </dgm:t>
    </dgm:pt>
    <dgm:pt modelId="{97C854AF-BB31-47CC-8750-EB4F94F56954}" cxnId="{F82BC52B-E891-444C-A6B6-6D6E68693A4D}" type="parTrans">
      <dgm:prSet/>
      <dgm:spPr/>
      <dgm:t>
        <a:bodyPr/>
        <a:lstStyle/>
        <a:p>
          <a:endParaRPr lang="en-US"/>
        </a:p>
      </dgm:t>
    </dgm:pt>
    <dgm:pt modelId="{065F45AA-C1C5-4A89-A388-875D09A4E94E}" cxnId="{F82BC52B-E891-444C-A6B6-6D6E68693A4D}" type="sibTrans">
      <dgm:prSet/>
      <dgm:spPr/>
      <dgm:t>
        <a:bodyPr/>
        <a:lstStyle/>
        <a:p>
          <a:endParaRPr lang="en-US"/>
        </a:p>
      </dgm:t>
    </dgm:pt>
    <dgm:pt modelId="{2CF0501B-95AB-404D-B84C-450B3B52673D}">
      <dgm:prSet phldrT="[Text]"/>
      <dgm:spPr/>
      <dgm:t>
        <a:bodyPr/>
        <a:lstStyle/>
        <a:p>
          <a:r>
            <a:rPr lang="zh-CN" altLang="en-US" b="1" dirty="0">
              <a:latin typeface="华文楷体" panose="02010600040101010101" pitchFamily="2" charset="-122"/>
              <a:ea typeface="华文楷体" panose="02010600040101010101" pitchFamily="2" charset="-122"/>
            </a:rPr>
            <a:t>多语言</a:t>
          </a:r>
          <a:endParaRPr lang="en-US" b="1" dirty="0">
            <a:latin typeface="华文楷体" panose="02010600040101010101" pitchFamily="2" charset="-122"/>
            <a:ea typeface="华文楷体" panose="02010600040101010101" pitchFamily="2" charset="-122"/>
          </a:endParaRPr>
        </a:p>
      </dgm:t>
    </dgm:pt>
    <dgm:pt modelId="{37B0964F-EDB3-464E-AE8A-A4E7678DD583}" cxnId="{C86971A3-568E-4639-8B9F-AE807BB90292}" type="parTrans">
      <dgm:prSet/>
      <dgm:spPr/>
      <dgm:t>
        <a:bodyPr/>
        <a:lstStyle/>
        <a:p>
          <a:endParaRPr lang="en-US"/>
        </a:p>
      </dgm:t>
    </dgm:pt>
    <dgm:pt modelId="{A8C5A1B6-4592-40C0-BAAB-9A244735DDB9}" cxnId="{C86971A3-568E-4639-8B9F-AE807BB90292}" type="sibTrans">
      <dgm:prSet/>
      <dgm:spPr/>
      <dgm:t>
        <a:bodyPr/>
        <a:lstStyle/>
        <a:p>
          <a:endParaRPr lang="en-US"/>
        </a:p>
      </dgm:t>
    </dgm:pt>
    <dgm:pt modelId="{E2C61E53-3AF9-4778-B1A4-2C4493FDB90F}" type="pres">
      <dgm:prSet presAssocID="{1864C6FF-607E-48C0-8756-FA38E578F787}" presName="Name0" presStyleCnt="0">
        <dgm:presLayoutVars>
          <dgm:chMax val="7"/>
          <dgm:chPref val="7"/>
          <dgm:dir/>
          <dgm:animLvl val="lvl"/>
        </dgm:presLayoutVars>
      </dgm:prSet>
      <dgm:spPr/>
    </dgm:pt>
    <dgm:pt modelId="{BBB4B004-DEC1-4D23-BB7C-1E874ED08CA9}" type="pres">
      <dgm:prSet presAssocID="{FBAAA69D-6CAB-4E34-8E6C-B5DA3C97AC60}" presName="Accent1" presStyleCnt="0"/>
      <dgm:spPr/>
    </dgm:pt>
    <dgm:pt modelId="{B458B53A-C344-4374-84A3-FB425D666076}" type="pres">
      <dgm:prSet presAssocID="{FBAAA69D-6CAB-4E34-8E6C-B5DA3C97AC60}" presName="Accent" presStyleLbl="node1" presStyleIdx="0" presStyleCnt="2" custScaleX="110242" custScaleY="100025"/>
      <dgm:spPr/>
    </dgm:pt>
    <dgm:pt modelId="{4991142A-1BE4-4B70-89CC-CFDE2ECC5A83}" type="pres">
      <dgm:prSet presAssocID="{FBAAA69D-6CAB-4E34-8E6C-B5DA3C97AC60}" presName="Parent1" presStyleLbl="revTx" presStyleIdx="0" presStyleCnt="2">
        <dgm:presLayoutVars>
          <dgm:chMax val="1"/>
          <dgm:chPref val="1"/>
          <dgm:bulletEnabled val="1"/>
        </dgm:presLayoutVars>
      </dgm:prSet>
      <dgm:spPr/>
    </dgm:pt>
    <dgm:pt modelId="{346C54C8-BBA7-4A52-932A-74417EDBBCBE}" type="pres">
      <dgm:prSet presAssocID="{2CF0501B-95AB-404D-B84C-450B3B52673D}" presName="Accent2" presStyleCnt="0"/>
      <dgm:spPr/>
    </dgm:pt>
    <dgm:pt modelId="{0361773A-6359-4E4E-AA10-797B265C54C1}" type="pres">
      <dgm:prSet presAssocID="{2CF0501B-95AB-404D-B84C-450B3B52673D}" presName="Accent" presStyleLbl="node1" presStyleIdx="1" presStyleCnt="2" custScaleX="113795" custScaleY="105027" custLinFactNeighborX="-11963" custLinFactNeighborY="135"/>
      <dgm:spPr/>
    </dgm:pt>
    <dgm:pt modelId="{F9ECB3C6-D662-4C35-9040-40D6869C225C}" type="pres">
      <dgm:prSet presAssocID="{2CF0501B-95AB-404D-B84C-450B3B52673D}" presName="Parent2" presStyleLbl="revTx" presStyleIdx="1" presStyleCnt="2" custLinFactNeighborX="-18918" custLinFactNeighborY="6533">
        <dgm:presLayoutVars>
          <dgm:chMax val="1"/>
          <dgm:chPref val="1"/>
          <dgm:bulletEnabled val="1"/>
        </dgm:presLayoutVars>
      </dgm:prSet>
      <dgm:spPr/>
    </dgm:pt>
  </dgm:ptLst>
  <dgm:cxnLst>
    <dgm:cxn modelId="{F82BC52B-E891-444C-A6B6-6D6E68693A4D}" srcId="{1864C6FF-607E-48C0-8756-FA38E578F787}" destId="{FBAAA69D-6CAB-4E34-8E6C-B5DA3C97AC60}" srcOrd="0" destOrd="0" parTransId="{97C854AF-BB31-47CC-8750-EB4F94F56954}" sibTransId="{065F45AA-C1C5-4A89-A388-875D09A4E94E}"/>
    <dgm:cxn modelId="{7479246E-FDC1-40EA-93C6-0FE58BD4AE41}" type="presOf" srcId="{FBAAA69D-6CAB-4E34-8E6C-B5DA3C97AC60}" destId="{4991142A-1BE4-4B70-89CC-CFDE2ECC5A83}" srcOrd="0" destOrd="0" presId="urn:microsoft.com/office/officeart/2009/layout/CircleArrowProcess#1"/>
    <dgm:cxn modelId="{820FD170-4300-4C87-B1FD-564E69ADA63D}" type="presOf" srcId="{2CF0501B-95AB-404D-B84C-450B3B52673D}" destId="{F9ECB3C6-D662-4C35-9040-40D6869C225C}" srcOrd="0" destOrd="0" presId="urn:microsoft.com/office/officeart/2009/layout/CircleArrowProcess#1"/>
    <dgm:cxn modelId="{C86971A3-568E-4639-8B9F-AE807BB90292}" srcId="{1864C6FF-607E-48C0-8756-FA38E578F787}" destId="{2CF0501B-95AB-404D-B84C-450B3B52673D}" srcOrd="1" destOrd="0" parTransId="{37B0964F-EDB3-464E-AE8A-A4E7678DD583}" sibTransId="{A8C5A1B6-4592-40C0-BAAB-9A244735DDB9}"/>
    <dgm:cxn modelId="{5372AADF-FF1B-4532-9D33-73F7480E933B}" type="presOf" srcId="{1864C6FF-607E-48C0-8756-FA38E578F787}" destId="{E2C61E53-3AF9-4778-B1A4-2C4493FDB90F}" srcOrd="0" destOrd="0" presId="urn:microsoft.com/office/officeart/2009/layout/CircleArrowProcess#1"/>
    <dgm:cxn modelId="{457FBEA7-1F27-449D-9D76-7F25D5FA5BEA}" type="presParOf" srcId="{E2C61E53-3AF9-4778-B1A4-2C4493FDB90F}" destId="{BBB4B004-DEC1-4D23-BB7C-1E874ED08CA9}" srcOrd="0" destOrd="0" presId="urn:microsoft.com/office/officeart/2009/layout/CircleArrowProcess#1"/>
    <dgm:cxn modelId="{B92AF1E1-6EC0-4254-9142-5072714FC435}" type="presParOf" srcId="{BBB4B004-DEC1-4D23-BB7C-1E874ED08CA9}" destId="{B458B53A-C344-4374-84A3-FB425D666076}" srcOrd="0" destOrd="0" presId="urn:microsoft.com/office/officeart/2009/layout/CircleArrowProcess#1"/>
    <dgm:cxn modelId="{A8F593DB-C606-4093-AF4F-C967C1AD69C6}" type="presParOf" srcId="{E2C61E53-3AF9-4778-B1A4-2C4493FDB90F}" destId="{4991142A-1BE4-4B70-89CC-CFDE2ECC5A83}" srcOrd="1" destOrd="0" presId="urn:microsoft.com/office/officeart/2009/layout/CircleArrowProcess#1"/>
    <dgm:cxn modelId="{CAAF1DAD-56B0-4041-944B-D5643312471F}" type="presParOf" srcId="{E2C61E53-3AF9-4778-B1A4-2C4493FDB90F}" destId="{346C54C8-BBA7-4A52-932A-74417EDBBCBE}" srcOrd="2" destOrd="0" presId="urn:microsoft.com/office/officeart/2009/layout/CircleArrowProcess#1"/>
    <dgm:cxn modelId="{62E56266-7A7D-49C2-B9ED-E1992548A2E8}" type="presParOf" srcId="{346C54C8-BBA7-4A52-932A-74417EDBBCBE}" destId="{0361773A-6359-4E4E-AA10-797B265C54C1}" srcOrd="0" destOrd="0" presId="urn:microsoft.com/office/officeart/2009/layout/CircleArrowProcess#1"/>
    <dgm:cxn modelId="{58C3A54D-DBCE-4410-AEDC-842428081088}" type="presParOf" srcId="{E2C61E53-3AF9-4778-B1A4-2C4493FDB90F}" destId="{F9ECB3C6-D662-4C35-9040-40D6869C225C}" srcOrd="3" destOrd="0" presId="urn:microsoft.com/office/officeart/2009/layout/CircleArrow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5498287" cy="4572000"/>
        <a:chOff x="0" y="0"/>
        <a:chExt cx="5498287" cy="4572000"/>
      </a:xfrm>
    </dsp:grpSpPr>
    <dsp:sp modelId="{B458B53A-C344-4374-84A3-FB425D666076}">
      <dsp:nvSpPr>
        <dsp:cNvPr id="3" name="环形箭头 2"/>
        <dsp:cNvSpPr/>
      </dsp:nvSpPr>
      <dsp:spPr bwMode="white">
        <a:xfrm>
          <a:off x="2143727" y="0"/>
          <a:ext cx="3047151" cy="3047238"/>
        </a:xfrm>
        <a:prstGeom prst="circularArrow">
          <a:avLst>
            <a:gd name="adj1" fmla="val 10980"/>
            <a:gd name="adj2" fmla="val 1142322"/>
            <a:gd name="adj3" fmla="val 4500000"/>
            <a:gd name="adj4" fmla="val 10800000"/>
            <a:gd name="adj5" fmla="val 12500"/>
          </a:avLst>
        </a:prstGeom>
        <a:sp3d prstMaterial="plastic">
          <a:bevelT w="120900" h="88900"/>
          <a:bevelB w="88900" h="31750" prst="angle"/>
        </a:sp3d>
      </dsp:spPr>
      <dsp:style>
        <a:lnRef idx="0">
          <a:schemeClr val="lt1"/>
        </a:lnRef>
        <a:fillRef idx="3">
          <a:schemeClr val="accent1"/>
        </a:fillRef>
        <a:effectRef idx="2">
          <a:scrgbClr r="0" g="0" b="0"/>
        </a:effectRef>
        <a:fontRef idx="minor">
          <a:schemeClr val="lt1"/>
        </a:fontRef>
      </dsp:style>
      <dsp:txXfrm>
        <a:off x="2143727" y="0"/>
        <a:ext cx="3047151" cy="3047238"/>
      </dsp:txXfrm>
    </dsp:sp>
    <dsp:sp modelId="{4991142A-1BE4-4B70-89CC-CFDE2ECC5A83}">
      <dsp:nvSpPr>
        <dsp:cNvPr id="4" name="矩形 3"/>
        <dsp:cNvSpPr/>
      </dsp:nvSpPr>
      <dsp:spPr bwMode="white">
        <a:xfrm>
          <a:off x="2816717" y="1103224"/>
          <a:ext cx="1700070" cy="849935"/>
        </a:xfrm>
        <a:prstGeom prst="rect">
          <a:avLst/>
        </a:prstGeom>
      </dsp:spPr>
      <dsp:style>
        <a:lnRef idx="0">
          <a:schemeClr val="dk1">
            <a:alpha val="0"/>
          </a:schemeClr>
        </a:lnRef>
        <a:fillRef idx="0">
          <a:schemeClr val="lt1">
            <a:alpha val="0"/>
          </a:schemeClr>
        </a:fillRef>
        <a:effectRef idx="0">
          <a:scrgbClr r="0" g="0" b="0"/>
        </a:effectRef>
        <a:fontRef idx="minor"/>
      </dsp:style>
      <dsp:txBody>
        <a:bodyPr lIns="27305" tIns="27305" rIns="27305" bIns="27305" anchor="ctr"/>
        <a:lstStyle>
          <a:lvl1pPr algn="ctr">
            <a:defRPr sz="4300"/>
          </a:lvl1pPr>
          <a:lvl2pPr marL="285750" indent="-285750" algn="ctr">
            <a:defRPr sz="3300"/>
          </a:lvl2pPr>
          <a:lvl3pPr marL="571500" indent="-285750" algn="ctr">
            <a:defRPr sz="3300"/>
          </a:lvl3pPr>
          <a:lvl4pPr marL="857250" indent="-285750" algn="ctr">
            <a:defRPr sz="3300"/>
          </a:lvl4pPr>
          <a:lvl5pPr marL="1143000" indent="-285750" algn="ctr">
            <a:defRPr sz="3300"/>
          </a:lvl5pPr>
          <a:lvl6pPr marL="1428750" indent="-285750" algn="ctr">
            <a:defRPr sz="3300"/>
          </a:lvl6pPr>
          <a:lvl7pPr marL="1714500" indent="-285750" algn="ctr">
            <a:defRPr sz="3300"/>
          </a:lvl7pPr>
          <a:lvl8pPr marL="2000250" indent="-285750" algn="ctr">
            <a:defRPr sz="3300"/>
          </a:lvl8pPr>
          <a:lvl9pPr marL="2286000" indent="-285750" algn="ctr">
            <a:defRPr sz="3300"/>
          </a:lvl9pPr>
        </a:lstStyle>
        <a:p>
          <a:pPr lvl="0">
            <a:lnSpc>
              <a:spcPct val="100000"/>
            </a:lnSpc>
            <a:spcBef>
              <a:spcPct val="0"/>
            </a:spcBef>
            <a:spcAft>
              <a:spcPct val="35000"/>
            </a:spcAft>
          </a:pPr>
          <a:r>
            <a:rPr lang="zh-CN" altLang="en-US" b="1" dirty="0">
              <a:solidFill>
                <a:schemeClr val="tx1"/>
              </a:solidFill>
              <a:latin typeface="华文楷体" panose="02010600040101010101" pitchFamily="2" charset="-122"/>
              <a:ea typeface="华文楷体" panose="02010600040101010101" pitchFamily="2" charset="-122"/>
            </a:rPr>
            <a:t>多学科</a:t>
          </a:r>
          <a:endParaRPr lang="en-US" b="1" dirty="0">
            <a:solidFill>
              <a:schemeClr val="tx1"/>
            </a:solidFill>
            <a:latin typeface="华文楷体" panose="02010600040101010101" pitchFamily="2" charset="-122"/>
            <a:ea typeface="华文楷体" panose="02010600040101010101" pitchFamily="2" charset="-122"/>
          </a:endParaRPr>
        </a:p>
      </dsp:txBody>
      <dsp:txXfrm>
        <a:off x="2816717" y="1103224"/>
        <a:ext cx="1700070" cy="849935"/>
      </dsp:txXfrm>
    </dsp:sp>
    <dsp:sp modelId="{0361773A-6359-4E4E-AA10-797B265C54C1}">
      <dsp:nvSpPr>
        <dsp:cNvPr id="5" name="空心弧 4"/>
        <dsp:cNvSpPr/>
      </dsp:nvSpPr>
      <dsp:spPr bwMode="white">
        <a:xfrm>
          <a:off x="1239526" y="1953158"/>
          <a:ext cx="2617735" cy="2618842"/>
        </a:xfrm>
        <a:prstGeom prst="blockArc">
          <a:avLst>
            <a:gd name="adj1" fmla="val 0"/>
            <a:gd name="adj2" fmla="val 18900000"/>
            <a:gd name="adj3" fmla="val 12740"/>
          </a:avLst>
        </a:prstGeom>
        <a:sp3d prstMaterial="plastic">
          <a:bevelT w="120900" h="88900"/>
          <a:bevelB w="88900" h="31750" prst="angle"/>
        </a:sp3d>
      </dsp:spPr>
      <dsp:style>
        <a:lnRef idx="0">
          <a:schemeClr val="lt1"/>
        </a:lnRef>
        <a:fillRef idx="3">
          <a:schemeClr val="accent1"/>
        </a:fillRef>
        <a:effectRef idx="2">
          <a:scrgbClr r="0" g="0" b="0"/>
        </a:effectRef>
        <a:fontRef idx="minor">
          <a:schemeClr val="lt1"/>
        </a:fontRef>
      </dsp:style>
      <dsp:txXfrm>
        <a:off x="1239526" y="1953158"/>
        <a:ext cx="2617735" cy="2618842"/>
      </dsp:txXfrm>
    </dsp:sp>
    <dsp:sp modelId="{F9ECB3C6-D662-4C35-9040-40D6869C225C}">
      <dsp:nvSpPr>
        <dsp:cNvPr id="6" name="矩形 5"/>
        <dsp:cNvSpPr/>
      </dsp:nvSpPr>
      <dsp:spPr bwMode="white">
        <a:xfrm>
          <a:off x="1645062" y="2913026"/>
          <a:ext cx="1700070" cy="849935"/>
        </a:xfrm>
        <a:prstGeom prst="rect">
          <a:avLst/>
        </a:prstGeom>
      </dsp:spPr>
      <dsp:style>
        <a:lnRef idx="0">
          <a:schemeClr val="dk1">
            <a:alpha val="0"/>
          </a:schemeClr>
        </a:lnRef>
        <a:fillRef idx="0">
          <a:schemeClr val="lt1">
            <a:alpha val="0"/>
          </a:schemeClr>
        </a:fillRef>
        <a:effectRef idx="0">
          <a:scrgbClr r="0" g="0" b="0"/>
        </a:effectRef>
        <a:fontRef idx="minor"/>
      </dsp:style>
      <dsp:txBody>
        <a:bodyPr lIns="27305" tIns="27305" rIns="27305" bIns="27305" anchor="ctr"/>
        <a:lstStyle>
          <a:lvl1pPr algn="ctr">
            <a:defRPr sz="4300"/>
          </a:lvl1pPr>
          <a:lvl2pPr marL="285750" indent="-285750" algn="ctr">
            <a:defRPr sz="3300"/>
          </a:lvl2pPr>
          <a:lvl3pPr marL="571500" indent="-285750" algn="ctr">
            <a:defRPr sz="3300"/>
          </a:lvl3pPr>
          <a:lvl4pPr marL="857250" indent="-285750" algn="ctr">
            <a:defRPr sz="3300"/>
          </a:lvl4pPr>
          <a:lvl5pPr marL="1143000" indent="-285750" algn="ctr">
            <a:defRPr sz="3300"/>
          </a:lvl5pPr>
          <a:lvl6pPr marL="1428750" indent="-285750" algn="ctr">
            <a:defRPr sz="3300"/>
          </a:lvl6pPr>
          <a:lvl7pPr marL="1714500" indent="-285750" algn="ctr">
            <a:defRPr sz="3300"/>
          </a:lvl7pPr>
          <a:lvl8pPr marL="2000250" indent="-285750" algn="ctr">
            <a:defRPr sz="3300"/>
          </a:lvl8pPr>
          <a:lvl9pPr marL="2286000" indent="-285750" algn="ctr">
            <a:defRPr sz="3300"/>
          </a:lvl9pPr>
        </a:lstStyle>
        <a:p>
          <a:pPr lvl="0">
            <a:lnSpc>
              <a:spcPct val="100000"/>
            </a:lnSpc>
            <a:spcBef>
              <a:spcPct val="0"/>
            </a:spcBef>
            <a:spcAft>
              <a:spcPct val="35000"/>
            </a:spcAft>
          </a:pPr>
          <a:r>
            <a:rPr lang="zh-CN" altLang="en-US" b="1" dirty="0">
              <a:solidFill>
                <a:schemeClr val="tx1"/>
              </a:solidFill>
              <a:latin typeface="华文楷体" panose="02010600040101010101" pitchFamily="2" charset="-122"/>
              <a:ea typeface="华文楷体" panose="02010600040101010101" pitchFamily="2" charset="-122"/>
            </a:rPr>
            <a:t>多语言</a:t>
          </a:r>
          <a:endParaRPr lang="en-US" b="1" dirty="0">
            <a:solidFill>
              <a:schemeClr val="tx1"/>
            </a:solidFill>
            <a:latin typeface="华文楷体" panose="02010600040101010101" pitchFamily="2" charset="-122"/>
            <a:ea typeface="华文楷体" panose="02010600040101010101" pitchFamily="2" charset="-122"/>
          </a:endParaRPr>
        </a:p>
      </dsp:txBody>
      <dsp:txXfrm>
        <a:off x="1645062" y="2913026"/>
        <a:ext cx="1700070" cy="849935"/>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1">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parTxLTRAlign" val="l"/>
              <dgm:param type="stBulletLvl" val="1"/>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1">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eaLnBrk="1" hangingPunct="1">
              <a:defRPr sz="1200">
                <a:latin typeface="Arial" panose="020B0604020202020204" pitchFamily="34" charset="0"/>
              </a:defRPr>
            </a:lvl1pPr>
          </a:lstStyle>
          <a:p>
            <a:pPr>
              <a:defRPr/>
            </a:pPr>
            <a:endParaRPr lang="zh-CN" altLang="en-US"/>
          </a:p>
        </p:txBody>
      </p:sp>
      <p:sp>
        <p:nvSpPr>
          <p:cNvPr id="3075" name="Rectangle 3"/>
          <p:cNvSpPr>
            <a:spLocks noGrp="1" noChangeArrowheads="1"/>
          </p:cNvSpPr>
          <p:nvPr>
            <p:ph type="dt"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eaLnBrk="1" hangingPunct="1">
              <a:defRPr sz="1200">
                <a:latin typeface="Arial" panose="020B0604020202020204" pitchFamily="34" charset="0"/>
              </a:defRPr>
            </a:lvl1pPr>
          </a:lstStyle>
          <a:p>
            <a:pPr>
              <a:defRPr/>
            </a:pPr>
            <a:endParaRPr lang="en-US" altLang="zh-CN"/>
          </a:p>
        </p:txBody>
      </p:sp>
      <p:sp>
        <p:nvSpPr>
          <p:cNvPr id="4100" name="Rectangle 4"/>
          <p:cNvSpPr>
            <a:spLocks noGrp="1" noRot="1" noChangeAspect="1" noChangeArrowheads="1"/>
          </p:cNvSpPr>
          <p:nvPr>
            <p:ph type="sldImg" idx="2"/>
          </p:nvPr>
        </p:nvSpPr>
        <p:spPr bwMode="auto">
          <a:xfrm>
            <a:off x="1143000" y="685800"/>
            <a:ext cx="4572000"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3077" name="Rectangle 5"/>
          <p:cNvSpPr>
            <a:spLocks noGrp="1" noRot="1" noChangeArrowheads="1"/>
          </p:cNvSpPr>
          <p:nvPr>
            <p:ph type="body" sz="quarter" idx="3"/>
          </p:nvPr>
        </p:nvSpPr>
        <p:spPr bwMode="auto">
          <a:xfrm>
            <a:off x="685800" y="4343400"/>
            <a:ext cx="5486400" cy="4114800"/>
          </a:xfrm>
          <a:prstGeom prst="rect">
            <a:avLst/>
          </a:prstGeom>
          <a:noFill/>
          <a:ln w="9525">
            <a:noFill/>
            <a:miter lim="800000"/>
          </a:ln>
          <a:effectLst/>
        </p:spPr>
        <p:txBody>
          <a:bodyPr vert="horz" wrap="square" lIns="91440" tIns="45720" rIns="91440" bIns="45720" numCol="1" anchor="ctr" anchorCtr="0" compatLnSpc="1"/>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3078" name="Rectangle 6"/>
          <p:cNvSpPr>
            <a:spLocks noGrp="1" noChangeArrowheads="1"/>
          </p:cNvSpPr>
          <p:nvPr>
            <p:ph type="ftr" sz="quarter" idx="4"/>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eaLnBrk="1" hangingPunct="1">
              <a:defRPr sz="1200">
                <a:latin typeface="Arial" panose="020B0604020202020204" pitchFamily="34" charset="0"/>
              </a:defRPr>
            </a:lvl1pPr>
          </a:lstStyle>
          <a:p>
            <a:pPr>
              <a:defRPr/>
            </a:pPr>
            <a:endParaRPr lang="en-US" altLang="zh-CN"/>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eaLnBrk="1" hangingPunct="1">
              <a:defRPr sz="1200">
                <a:latin typeface="Arial" panose="020B0604020202020204" pitchFamily="34" charset="0"/>
              </a:defRPr>
            </a:lvl1pPr>
          </a:lstStyle>
          <a:p>
            <a:pPr>
              <a:defRPr/>
            </a:pPr>
            <a:fld id="{24E3CA5D-E383-4345-8047-9665588B57E9}" type="slidenum">
              <a:rPr lang="zh-CN" altLang="en-US"/>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ln>
            <a:solidFill>
              <a:srgbClr val="000000"/>
            </a:solidFill>
            <a:miter lim="800000"/>
          </a:ln>
        </p:spPr>
      </p:sp>
      <p:sp>
        <p:nvSpPr>
          <p:cNvPr id="717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r>
              <a:rPr lang="en-US" altLang="zh-CN" i="1"/>
              <a:t>Became the </a:t>
            </a:r>
            <a:r>
              <a:rPr lang="en-US" altLang="zh-CN" b="1" i="1"/>
              <a:t>Repository for the National Collection in</a:t>
            </a:r>
            <a:endParaRPr lang="en-US" altLang="zh-CN" b="1" i="1"/>
          </a:p>
          <a:p>
            <a:r>
              <a:rPr lang="en-US" altLang="zh-CN" i="1"/>
              <a:t>the 1950’s, by consensus of the Association of Research</a:t>
            </a:r>
            <a:endParaRPr lang="en-US" altLang="zh-CN" i="1"/>
          </a:p>
          <a:p>
            <a:r>
              <a:rPr lang="en-US" altLang="zh-CN" i="1"/>
              <a:t>Libraries</a:t>
            </a:r>
            <a:endParaRPr lang="en-US" altLang="zh-CN"/>
          </a:p>
        </p:txBody>
      </p:sp>
      <p:sp>
        <p:nvSpPr>
          <p:cNvPr id="717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2D1D2B88-FD2A-48DB-BF6B-D1BD85E888DA}" type="slidenum">
              <a:rPr lang="en-US" altLang="zh-CN" smtClean="0">
                <a:latin typeface="Arial" panose="020B0604020202020204" pitchFamily="34" charset="0"/>
              </a:rPr>
            </a:fld>
            <a:endParaRPr lang="en-US" altLang="zh-CN">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800" b="1" spc="25" dirty="0">
                <a:effectLst/>
                <a:latin typeface="宋体" panose="02010600030101010101" pitchFamily="2" charset="-122"/>
                <a:ea typeface="Source Han Sans SC Bold"/>
                <a:cs typeface="Regular Clarivate"/>
              </a:rPr>
              <a:t>未被发现的研究 </a:t>
            </a:r>
            <a:r>
              <a:rPr lang="en-US" altLang="zh-CN" sz="1800" b="1" spc="100" dirty="0">
                <a:effectLst/>
                <a:latin typeface="Regular Clarivate"/>
                <a:ea typeface="Regular Clarivate"/>
                <a:cs typeface="Regular Clarivate"/>
              </a:rPr>
              <a:t>: </a:t>
            </a:r>
            <a:r>
              <a:rPr lang="zh-CN" altLang="zh-CN" sz="1800" dirty="0">
                <a:effectLst/>
                <a:latin typeface="宋体" panose="02010600030101010101" pitchFamily="2" charset="-122"/>
                <a:ea typeface="Regular Clarivate"/>
                <a:cs typeface="Regular Clarivate"/>
              </a:rPr>
              <a:t>这类学术研究大部分从未正式出版成书籍和文章。对每一个可以想象到的主题，学位</a:t>
            </a:r>
            <a:r>
              <a:rPr lang="zh-CN" altLang="zh-CN" sz="1800" spc="-10" dirty="0">
                <a:effectLst/>
                <a:latin typeface="宋体" panose="02010600030101010101" pitchFamily="2" charset="-122"/>
                <a:ea typeface="Regular Clarivate"/>
                <a:cs typeface="Regular Clarivate"/>
              </a:rPr>
              <a:t>论文都包含了小众领域丰富的最新信息，因此学位论文对于各级研究人员来说都是一种丰富的潜在见解。</a:t>
            </a:r>
            <a:endParaRPr lang="zh-CN" altLang="zh-CN" sz="1800" dirty="0">
              <a:effectLst/>
              <a:latin typeface="宋体" panose="02010600030101010101" pitchFamily="2" charset="-122"/>
              <a:ea typeface="Regular Clarivate"/>
              <a:cs typeface="Regular Clarivate"/>
            </a:endParaRPr>
          </a:p>
          <a:p>
            <a:r>
              <a:rPr lang="en-US" dirty="0"/>
              <a:t>ad off benefits from slide)</a:t>
            </a:r>
            <a:endParaRPr lang="en-US" dirty="0"/>
          </a:p>
        </p:txBody>
      </p:sp>
      <p:sp>
        <p:nvSpPr>
          <p:cNvPr id="4" name="Slide Number Placeholder 3"/>
          <p:cNvSpPr>
            <a:spLocks noGrp="1"/>
          </p:cNvSpPr>
          <p:nvPr>
            <p:ph type="sldNum" sz="quarter" idx="5"/>
          </p:nvPr>
        </p:nvSpPr>
        <p:spPr/>
        <p:txBody>
          <a:bodyPr/>
          <a:lstStyle/>
          <a:p>
            <a:fld id="{9C17B9E1-5ADC-7045-9E1F-8D1CF0861AE4}"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800" b="1" spc="25" dirty="0">
                <a:effectLst/>
                <a:latin typeface="宋体" panose="02010600030101010101" pitchFamily="2" charset="-122"/>
                <a:ea typeface="Source Han Sans SC Bold"/>
                <a:cs typeface="Regular Clarivate"/>
              </a:rPr>
              <a:t>未被发现的研究 </a:t>
            </a:r>
            <a:r>
              <a:rPr lang="en-US" altLang="zh-CN" sz="1800" b="1" spc="100" dirty="0">
                <a:effectLst/>
                <a:latin typeface="Regular Clarivate"/>
                <a:ea typeface="Regular Clarivate"/>
                <a:cs typeface="Regular Clarivate"/>
              </a:rPr>
              <a:t>: </a:t>
            </a:r>
            <a:r>
              <a:rPr lang="zh-CN" altLang="zh-CN" sz="1800" dirty="0">
                <a:effectLst/>
                <a:latin typeface="宋体" panose="02010600030101010101" pitchFamily="2" charset="-122"/>
                <a:ea typeface="Regular Clarivate"/>
                <a:cs typeface="Regular Clarivate"/>
              </a:rPr>
              <a:t>这类学术研究大部分从未正式出版成书籍和文章。对每一个可以想象到的主题，学位</a:t>
            </a:r>
            <a:r>
              <a:rPr lang="zh-CN" altLang="zh-CN" sz="1800" spc="-10" dirty="0">
                <a:effectLst/>
                <a:latin typeface="宋体" panose="02010600030101010101" pitchFamily="2" charset="-122"/>
                <a:ea typeface="Regular Clarivate"/>
                <a:cs typeface="Regular Clarivate"/>
              </a:rPr>
              <a:t>论文都包含了小众领域丰富的最新信息，因此学位论文对于各级研究人员来说都是一种丰富的潜在见解。</a:t>
            </a:r>
            <a:endParaRPr lang="zh-CN" altLang="zh-CN" sz="1800" dirty="0">
              <a:effectLst/>
              <a:latin typeface="宋体" panose="02010600030101010101" pitchFamily="2" charset="-122"/>
              <a:ea typeface="Regular Clarivate"/>
              <a:cs typeface="Regular Clarivate"/>
            </a:endParaRPr>
          </a:p>
          <a:p>
            <a:r>
              <a:rPr lang="en-US" dirty="0"/>
              <a:t>ad off benefits from slide)</a:t>
            </a:r>
            <a:endParaRPr lang="en-US" dirty="0"/>
          </a:p>
        </p:txBody>
      </p:sp>
      <p:sp>
        <p:nvSpPr>
          <p:cNvPr id="4" name="Slide Number Placeholder 3"/>
          <p:cNvSpPr>
            <a:spLocks noGrp="1"/>
          </p:cNvSpPr>
          <p:nvPr>
            <p:ph type="sldNum" sz="quarter" idx="5"/>
          </p:nvPr>
        </p:nvSpPr>
        <p:spPr/>
        <p:txBody>
          <a:bodyPr/>
          <a:lstStyle/>
          <a:p>
            <a:fld id="{9C17B9E1-5ADC-7045-9E1F-8D1CF0861AE4}" type="slidenum">
              <a:rPr lang="en-US" smtClean="0"/>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800" b="1" spc="25" dirty="0">
                <a:effectLst/>
                <a:latin typeface="宋体" panose="02010600030101010101" pitchFamily="2" charset="-122"/>
                <a:ea typeface="Source Han Sans SC Bold"/>
                <a:cs typeface="Regular Clarivate"/>
              </a:rPr>
              <a:t>未被发现的研究 </a:t>
            </a:r>
            <a:r>
              <a:rPr lang="en-US" altLang="zh-CN" sz="1800" b="1" spc="100" dirty="0">
                <a:effectLst/>
                <a:latin typeface="Regular Clarivate"/>
                <a:ea typeface="Regular Clarivate"/>
                <a:cs typeface="Regular Clarivate"/>
              </a:rPr>
              <a:t>: </a:t>
            </a:r>
            <a:r>
              <a:rPr lang="zh-CN" altLang="zh-CN" sz="1800" dirty="0">
                <a:effectLst/>
                <a:latin typeface="宋体" panose="02010600030101010101" pitchFamily="2" charset="-122"/>
                <a:ea typeface="Regular Clarivate"/>
                <a:cs typeface="Regular Clarivate"/>
              </a:rPr>
              <a:t>这类学术研究大部分从未正式出版成书籍和文章。对每一个可以想象到的主题，学位</a:t>
            </a:r>
            <a:r>
              <a:rPr lang="zh-CN" altLang="zh-CN" sz="1800" spc="-10" dirty="0">
                <a:effectLst/>
                <a:latin typeface="宋体" panose="02010600030101010101" pitchFamily="2" charset="-122"/>
                <a:ea typeface="Regular Clarivate"/>
                <a:cs typeface="Regular Clarivate"/>
              </a:rPr>
              <a:t>论文都包含了小众领域丰富的最新信息，因此学位论文对于各级研究人员来说都是一种丰富的潜在见解。</a:t>
            </a:r>
            <a:endParaRPr lang="zh-CN" altLang="zh-CN" sz="1800" dirty="0">
              <a:effectLst/>
              <a:latin typeface="宋体" panose="02010600030101010101" pitchFamily="2" charset="-122"/>
              <a:ea typeface="Regular Clarivate"/>
              <a:cs typeface="Regular Clarivate"/>
            </a:endParaRPr>
          </a:p>
          <a:p>
            <a:r>
              <a:rPr lang="en-US" dirty="0"/>
              <a:t>ad off benefits from slide)</a:t>
            </a:r>
            <a:endParaRPr lang="en-US" dirty="0"/>
          </a:p>
        </p:txBody>
      </p:sp>
      <p:sp>
        <p:nvSpPr>
          <p:cNvPr id="4" name="Slide Number Placeholder 3"/>
          <p:cNvSpPr>
            <a:spLocks noGrp="1"/>
          </p:cNvSpPr>
          <p:nvPr>
            <p:ph type="sldNum" sz="quarter" idx="5"/>
          </p:nvPr>
        </p:nvSpPr>
        <p:spPr/>
        <p:txBody>
          <a:bodyPr/>
          <a:lstStyle/>
          <a:p>
            <a:fld id="{9C17B9E1-5ADC-7045-9E1F-8D1CF0861AE4}" type="slidenum">
              <a:rPr lang="en-US" smtClean="0"/>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Rot="1" noChangeAspect="1" noChangeArrowheads="1" noTextEdit="1"/>
          </p:cNvSpPr>
          <p:nvPr>
            <p:ph type="sldImg"/>
          </p:nvPr>
        </p:nvSpPr>
        <p:spPr>
          <a:solidFill>
            <a:srgbClr val="FFFFFF"/>
          </a:solidFill>
          <a:ln>
            <a:solidFill>
              <a:srgbClr val="000000"/>
            </a:solidFill>
            <a:miter lim="800000"/>
          </a:ln>
        </p:spPr>
      </p:sp>
      <p:sp>
        <p:nvSpPr>
          <p:cNvPr id="14339" name="Rectangle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r>
              <a:rPr lang="en-US" altLang="zh-CN">
                <a:solidFill>
                  <a:srgbClr val="333333"/>
                </a:solidFill>
                <a:cs typeface="Arial" panose="020B0604020202020204" pitchFamily="34" charset="0"/>
                <a:sym typeface="Arial" panose="020B0604020202020204" pitchFamily="34" charset="0"/>
              </a:rPr>
              <a:t>.</a:t>
            </a:r>
            <a:endParaRPr lang="en-US" altLang="zh-CN">
              <a:solidFill>
                <a:srgbClr val="333333"/>
              </a:solidFill>
              <a:cs typeface="Arial" panose="020B0604020202020204" pitchFamily="34" charset="0"/>
              <a:sym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a:solidFill>
              <a:srgbClr val="000000"/>
            </a:solidFill>
            <a:miter lim="800000"/>
          </a:ln>
        </p:spPr>
      </p:sp>
      <p:sp>
        <p:nvSpPr>
          <p:cNvPr id="163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endParaRPr lang="zh-CN" altLang="zh-CN"/>
          </a:p>
        </p:txBody>
      </p:sp>
      <p:sp>
        <p:nvSpPr>
          <p:cNvPr id="1638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836D798A-31CD-4F75-A70B-748F110DEF05}" type="slidenum">
              <a:rPr lang="en-US" altLang="zh-CN" smtClean="0">
                <a:latin typeface="Arial" panose="020B0604020202020204" pitchFamily="34" charset="0"/>
              </a:rPr>
            </a:fld>
            <a:endParaRPr lang="en-US" altLang="zh-CN">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a:solidFill>
              <a:srgbClr val="000000"/>
            </a:solidFill>
            <a:miter lim="800000"/>
          </a:ln>
        </p:spPr>
      </p:sp>
      <p:sp>
        <p:nvSpPr>
          <p:cNvPr id="1843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endParaRPr lang="zh-CN" altLang="zh-CN"/>
          </a:p>
        </p:txBody>
      </p:sp>
      <p:sp>
        <p:nvSpPr>
          <p:cNvPr id="1843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B31319F1-7A45-4F79-A097-D6DF526CE3CA}" type="slidenum">
              <a:rPr lang="en-US" altLang="zh-CN" smtClean="0">
                <a:latin typeface="Arial" panose="020B0604020202020204" pitchFamily="34" charset="0"/>
              </a:rPr>
            </a:fld>
            <a:endParaRPr lang="en-US" altLang="zh-CN">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a:solidFill>
              <a:srgbClr val="000000"/>
            </a:solidFill>
            <a:miter lim="800000"/>
          </a:ln>
        </p:spPr>
      </p:sp>
      <p:sp>
        <p:nvSpPr>
          <p:cNvPr id="2355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endParaRPr lang="zh-CN" altLang="zh-CN"/>
          </a:p>
        </p:txBody>
      </p:sp>
      <p:sp>
        <p:nvSpPr>
          <p:cNvPr id="2355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DA602608-7011-47EC-AF9E-246B5502ACDE}" type="slidenum">
              <a:rPr lang="en-US" altLang="zh-CN" smtClean="0">
                <a:latin typeface="Arial" panose="020B0604020202020204" pitchFamily="34" charset="0"/>
              </a:rPr>
            </a:fld>
            <a:endParaRPr lang="en-US" altLang="zh-CN">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9.png"/><Relationship Id="rId2" Type="http://schemas.openxmlformats.org/officeDocument/2006/relationships/tags" Target="../tags/tag1.xml"/><Relationship Id="rId17" Type="http://schemas.openxmlformats.org/officeDocument/2006/relationships/tags" Target="../tags/tag15.xml"/><Relationship Id="rId16" Type="http://schemas.openxmlformats.org/officeDocument/2006/relationships/tags" Target="../tags/tag14.xml"/><Relationship Id="rId15" Type="http://schemas.openxmlformats.org/officeDocument/2006/relationships/tags" Target="../tags/tag13.xml"/><Relationship Id="rId14" Type="http://schemas.openxmlformats.org/officeDocument/2006/relationships/tags" Target="../tags/tag12.xml"/><Relationship Id="rId13" Type="http://schemas.openxmlformats.org/officeDocument/2006/relationships/tags" Target="../tags/tag11.xml"/><Relationship Id="rId12" Type="http://schemas.openxmlformats.org/officeDocument/2006/relationships/tags" Target="../tags/tag10.xml"/><Relationship Id="rId11" Type="http://schemas.openxmlformats.org/officeDocument/2006/relationships/tags" Target="../tags/tag9.xml"/><Relationship Id="rId10" Type="http://schemas.openxmlformats.org/officeDocument/2006/relationships/tags" Target="../tags/tag8.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7" Type="http://schemas.openxmlformats.org/officeDocument/2006/relationships/tags" Target="../tags/tag25.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image" Target="../media/image9.png"/><Relationship Id="rId2" Type="http://schemas.openxmlformats.org/officeDocument/2006/relationships/tags" Target="../tags/tag21.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9" Type="http://schemas.openxmlformats.org/officeDocument/2006/relationships/tags" Target="../tags/tag32.xml"/><Relationship Id="rId8" Type="http://schemas.openxmlformats.org/officeDocument/2006/relationships/tags" Target="../tags/tag31.xml"/><Relationship Id="rId7" Type="http://schemas.openxmlformats.org/officeDocument/2006/relationships/tags" Target="../tags/tag30.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image" Target="../media/image10.png"/><Relationship Id="rId2" Type="http://schemas.openxmlformats.org/officeDocument/2006/relationships/tags" Target="../tags/tag26.xml"/><Relationship Id="rId15" Type="http://schemas.openxmlformats.org/officeDocument/2006/relationships/tags" Target="../tags/tag38.xml"/><Relationship Id="rId14" Type="http://schemas.openxmlformats.org/officeDocument/2006/relationships/tags" Target="../tags/tag37.xml"/><Relationship Id="rId13" Type="http://schemas.openxmlformats.org/officeDocument/2006/relationships/tags" Target="../tags/tag36.xml"/><Relationship Id="rId12" Type="http://schemas.openxmlformats.org/officeDocument/2006/relationships/tags" Target="../tags/tag35.xml"/><Relationship Id="rId11" Type="http://schemas.openxmlformats.org/officeDocument/2006/relationships/tags" Target="../tags/tag34.xml"/><Relationship Id="rId10" Type="http://schemas.openxmlformats.org/officeDocument/2006/relationships/tags" Target="../tags/tag33.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tags" Target="../tags/tag44.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9" Type="http://schemas.openxmlformats.org/officeDocument/2006/relationships/tags" Target="../tags/tag52.xml"/><Relationship Id="rId8" Type="http://schemas.openxmlformats.org/officeDocument/2006/relationships/tags" Target="../tags/tag51.xml"/><Relationship Id="rId7" Type="http://schemas.openxmlformats.org/officeDocument/2006/relationships/tags" Target="../tags/tag50.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tags" Target="../tags/tag56.xml"/><Relationship Id="rId4" Type="http://schemas.openxmlformats.org/officeDocument/2006/relationships/tags" Target="../tags/tag55.xml"/><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4" Type="http://schemas.openxmlformats.org/officeDocument/2006/relationships/tags" Target="../tags/tag59.xml"/><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5" Type="http://schemas.openxmlformats.org/officeDocument/2006/relationships/tags" Target="../tags/tag63.xml"/><Relationship Id="rId4" Type="http://schemas.openxmlformats.org/officeDocument/2006/relationships/tags" Target="../tags/tag62.xml"/><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9" Type="http://schemas.openxmlformats.org/officeDocument/2006/relationships/tags" Target="../tags/tag75.xml"/><Relationship Id="rId8" Type="http://schemas.openxmlformats.org/officeDocument/2006/relationships/tags" Target="../tags/tag74.xml"/><Relationship Id="rId7" Type="http://schemas.openxmlformats.org/officeDocument/2006/relationships/tags" Target="../tags/tag73.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3" Type="http://schemas.openxmlformats.org/officeDocument/2006/relationships/image" Target="../media/image9.png"/><Relationship Id="rId2" Type="http://schemas.openxmlformats.org/officeDocument/2006/relationships/tags" Target="../tags/tag69.xml"/><Relationship Id="rId17" Type="http://schemas.openxmlformats.org/officeDocument/2006/relationships/tags" Target="../tags/tag83.xml"/><Relationship Id="rId16" Type="http://schemas.openxmlformats.org/officeDocument/2006/relationships/tags" Target="../tags/tag82.xml"/><Relationship Id="rId15" Type="http://schemas.openxmlformats.org/officeDocument/2006/relationships/tags" Target="../tags/tag81.xml"/><Relationship Id="rId14" Type="http://schemas.openxmlformats.org/officeDocument/2006/relationships/tags" Target="../tags/tag80.xml"/><Relationship Id="rId13" Type="http://schemas.openxmlformats.org/officeDocument/2006/relationships/tags" Target="../tags/tag79.xml"/><Relationship Id="rId12" Type="http://schemas.openxmlformats.org/officeDocument/2006/relationships/tags" Target="../tags/tag78.xml"/><Relationship Id="rId11" Type="http://schemas.openxmlformats.org/officeDocument/2006/relationships/tags" Target="../tags/tag77.xml"/><Relationship Id="rId10" Type="http://schemas.openxmlformats.org/officeDocument/2006/relationships/tags" Target="../tags/tag76.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9" Type="http://schemas.openxmlformats.org/officeDocument/2006/relationships/tags" Target="../tags/tag104.xml"/><Relationship Id="rId8" Type="http://schemas.openxmlformats.org/officeDocument/2006/relationships/tags" Target="../tags/tag103.xml"/><Relationship Id="rId7" Type="http://schemas.openxmlformats.org/officeDocument/2006/relationships/tags" Target="../tags/tag102.xml"/><Relationship Id="rId6" Type="http://schemas.openxmlformats.org/officeDocument/2006/relationships/image" Target="../media/image12.png"/><Relationship Id="rId5" Type="http://schemas.openxmlformats.org/officeDocument/2006/relationships/tags" Target="../tags/tag101.xml"/><Relationship Id="rId4" Type="http://schemas.openxmlformats.org/officeDocument/2006/relationships/image" Target="../media/image11.png"/><Relationship Id="rId3" Type="http://schemas.openxmlformats.org/officeDocument/2006/relationships/tags" Target="../tags/tag100.xml"/><Relationship Id="rId2" Type="http://schemas.openxmlformats.org/officeDocument/2006/relationships/tags" Target="../tags/tag99.xml"/><Relationship Id="rId11" Type="http://schemas.openxmlformats.org/officeDocument/2006/relationships/tags" Target="../tags/tag106.xml"/><Relationship Id="rId10" Type="http://schemas.openxmlformats.org/officeDocument/2006/relationships/tags" Target="../tags/tag105.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r="5"/>
          <a:stretch>
            <a:fillRect/>
          </a:stretch>
        </p:blipFill>
        <p:spPr bwMode="auto">
          <a:xfrm>
            <a:off x="34925" y="2382838"/>
            <a:ext cx="9070975" cy="183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3"/>
          <p:cNvGrpSpPr/>
          <p:nvPr/>
        </p:nvGrpSpPr>
        <p:grpSpPr bwMode="auto">
          <a:xfrm>
            <a:off x="34925" y="4292600"/>
            <a:ext cx="9074150" cy="2520950"/>
            <a:chOff x="0" y="0"/>
            <a:chExt cx="5760" cy="1680"/>
          </a:xfrm>
        </p:grpSpPr>
        <p:sp>
          <p:nvSpPr>
            <p:cNvPr id="6" name="Rectangle 4"/>
            <p:cNvSpPr>
              <a:spLocks noChangeArrowheads="1"/>
            </p:cNvSpPr>
            <p:nvPr userDrawn="1"/>
          </p:nvSpPr>
          <p:spPr bwMode="auto">
            <a:xfrm>
              <a:off x="0" y="0"/>
              <a:ext cx="5760" cy="1680"/>
            </a:xfrm>
            <a:prstGeom prst="rect">
              <a:avLst/>
            </a:prstGeom>
            <a:solidFill>
              <a:schemeClr val="bg2"/>
            </a:solidFill>
            <a:ln>
              <a:noFill/>
            </a:ln>
          </p:spPr>
          <p:txBody>
            <a:bodyPr wrap="none"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defRPr/>
              </a:pPr>
              <a:endParaRPr lang="zh-CN" altLang="en-US">
                <a:latin typeface="+mn-lt"/>
              </a:endParaRPr>
            </a:p>
          </p:txBody>
        </p:sp>
        <p:sp>
          <p:nvSpPr>
            <p:cNvPr id="7" name="Rectangle 5"/>
            <p:cNvSpPr>
              <a:spLocks noChangeArrowheads="1"/>
            </p:cNvSpPr>
            <p:nvPr userDrawn="1"/>
          </p:nvSpPr>
          <p:spPr bwMode="auto">
            <a:xfrm>
              <a:off x="0" y="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ln>
            <a:effectLst/>
          </p:spPr>
          <p:txBody>
            <a:bodyPr wrap="none" anchor="ctr"/>
            <a:lstStyle/>
            <a:p>
              <a:pPr>
                <a:defRPr/>
              </a:pPr>
              <a:endParaRPr lang="zh-CN" altLang="en-US">
                <a:latin typeface="+mn-lt"/>
              </a:endParaRPr>
            </a:p>
          </p:txBody>
        </p:sp>
      </p:grpSp>
      <p:sp>
        <p:nvSpPr>
          <p:cNvPr id="8" name="Rectangle 6"/>
          <p:cNvSpPr>
            <a:spLocks noChangeArrowheads="1"/>
          </p:cNvSpPr>
          <p:nvPr/>
        </p:nvSpPr>
        <p:spPr bwMode="auto">
          <a:xfrm>
            <a:off x="34925" y="44450"/>
            <a:ext cx="9074150" cy="2282825"/>
          </a:xfrm>
          <a:prstGeom prst="rect">
            <a:avLst/>
          </a:prstGeom>
          <a:gradFill rotWithShape="0">
            <a:gsLst>
              <a:gs pos="0">
                <a:schemeClr val="tx1"/>
              </a:gs>
              <a:gs pos="100000">
                <a:schemeClr val="tx1">
                  <a:gamma/>
                  <a:shade val="46275"/>
                  <a:invGamma/>
                </a:schemeClr>
              </a:gs>
            </a:gsLst>
            <a:lin ang="5400000" scaled="1"/>
          </a:gradFill>
          <a:ln w="9525">
            <a:noFill/>
            <a:miter lim="800000"/>
          </a:ln>
          <a:effectLst/>
        </p:spPr>
        <p:txBody>
          <a:bodyPr wrap="none" anchor="ctr"/>
          <a:lstStyle/>
          <a:p>
            <a:pPr>
              <a:defRPr/>
            </a:pPr>
            <a:endParaRPr lang="zh-CN" altLang="en-US">
              <a:latin typeface="+mn-lt"/>
            </a:endParaRPr>
          </a:p>
        </p:txBody>
      </p:sp>
      <p:grpSp>
        <p:nvGrpSpPr>
          <p:cNvPr id="9" name="Group 7"/>
          <p:cNvGrpSpPr/>
          <p:nvPr/>
        </p:nvGrpSpPr>
        <p:grpSpPr bwMode="auto">
          <a:xfrm>
            <a:off x="0" y="0"/>
            <a:ext cx="9144000" cy="6856413"/>
            <a:chOff x="0" y="0"/>
            <a:chExt cx="5763" cy="4319"/>
          </a:xfrm>
        </p:grpSpPr>
        <p:sp>
          <p:nvSpPr>
            <p:cNvPr id="10" name="AutoShape 8"/>
            <p:cNvSpPr>
              <a:spLocks noChangeArrowheads="1"/>
            </p:cNvSpPr>
            <p:nvPr userDrawn="1"/>
          </p:nvSpPr>
          <p:spPr bwMode="auto">
            <a:xfrm>
              <a:off x="27" y="24"/>
              <a:ext cx="5712" cy="4272"/>
            </a:xfrm>
            <a:prstGeom prst="roundRect">
              <a:avLst>
                <a:gd name="adj" fmla="val 6227"/>
              </a:avLst>
            </a:prstGeom>
            <a:noFill/>
            <a:ln w="76200">
              <a:solidFill>
                <a:schemeClr val="bg1"/>
              </a:solidFill>
              <a:round/>
            </a:ln>
          </p:spPr>
          <p:txBody>
            <a:bodyPr wrap="none"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defRPr/>
              </a:pPr>
              <a:endParaRPr lang="zh-CN" altLang="en-US">
                <a:latin typeface="+mn-lt"/>
              </a:endParaRPr>
            </a:p>
          </p:txBody>
        </p:sp>
        <p:sp>
          <p:nvSpPr>
            <p:cNvPr id="11" name="未知"/>
            <p:cNvSpPr/>
            <p:nvPr userDrawn="1"/>
          </p:nvSpPr>
          <p:spPr bwMode="auto">
            <a:xfrm>
              <a:off x="3" y="0"/>
              <a:ext cx="288" cy="288"/>
            </a:xfrm>
            <a:custGeom>
              <a:avLst/>
              <a:gdLst>
                <a:gd name="T0" fmla="*/ 0 w 336"/>
                <a:gd name="T1" fmla="*/ 2 h 384"/>
                <a:gd name="T2" fmla="*/ 0 w 336"/>
                <a:gd name="T3" fmla="*/ 2 h 384"/>
                <a:gd name="T4" fmla="*/ 5 w 336"/>
                <a:gd name="T5" fmla="*/ 2 h 384"/>
                <a:gd name="T6" fmla="*/ 10 w 336"/>
                <a:gd name="T7" fmla="*/ 2 h 384"/>
                <a:gd name="T8" fmla="*/ 18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mn-lt"/>
              </a:endParaRPr>
            </a:p>
          </p:txBody>
        </p:sp>
        <p:sp>
          <p:nvSpPr>
            <p:cNvPr id="12" name="未知"/>
            <p:cNvSpPr/>
            <p:nvPr userDrawn="1"/>
          </p:nvSpPr>
          <p:spPr bwMode="auto">
            <a:xfrm rot="-5408600">
              <a:off x="-47"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mn-lt"/>
              </a:endParaRPr>
            </a:p>
          </p:txBody>
        </p:sp>
        <p:sp>
          <p:nvSpPr>
            <p:cNvPr id="13" name="未知"/>
            <p:cNvSpPr/>
            <p:nvPr userDrawn="1"/>
          </p:nvSpPr>
          <p:spPr bwMode="auto">
            <a:xfrm rot="10769190">
              <a:off x="5522"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mn-lt"/>
              </a:endParaRPr>
            </a:p>
          </p:txBody>
        </p:sp>
        <p:sp>
          <p:nvSpPr>
            <p:cNvPr id="14" name="未知"/>
            <p:cNvSpPr/>
            <p:nvPr userDrawn="1"/>
          </p:nvSpPr>
          <p:spPr bwMode="auto">
            <a:xfrm rot="5400000">
              <a:off x="5475" y="0"/>
              <a:ext cx="288" cy="288"/>
            </a:xfrm>
            <a:custGeom>
              <a:avLst/>
              <a:gdLst>
                <a:gd name="T0" fmla="*/ 0 w 336"/>
                <a:gd name="T1" fmla="*/ 2 h 384"/>
                <a:gd name="T2" fmla="*/ 0 w 336"/>
                <a:gd name="T3" fmla="*/ 2 h 384"/>
                <a:gd name="T4" fmla="*/ 5 w 336"/>
                <a:gd name="T5" fmla="*/ 2 h 384"/>
                <a:gd name="T6" fmla="*/ 10 w 336"/>
                <a:gd name="T7" fmla="*/ 2 h 384"/>
                <a:gd name="T8" fmla="*/ 18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mn-lt"/>
              </a:endParaRPr>
            </a:p>
          </p:txBody>
        </p:sp>
      </p:grpSp>
      <p:sp>
        <p:nvSpPr>
          <p:cNvPr id="2061" name="Rectangle 13"/>
          <p:cNvSpPr>
            <a:spLocks noGrp="1" noChangeArrowheads="1"/>
          </p:cNvSpPr>
          <p:nvPr>
            <p:ph type="ctrTitle" sz="quarter"/>
          </p:nvPr>
        </p:nvSpPr>
        <p:spPr bwMode="auto">
          <a:xfrm>
            <a:off x="539750" y="1268413"/>
            <a:ext cx="8153400" cy="814387"/>
          </a:xfrm>
          <a:prstGeom prst="rect">
            <a:avLst/>
          </a:prstGeom>
          <a:noFill/>
          <a:ln>
            <a:miter lim="800000"/>
          </a:ln>
        </p:spPr>
        <p:txBody>
          <a:bodyPr vert="horz" wrap="square" lIns="91440" tIns="45720" rIns="91440" bIns="45720" numCol="1" anchor="ctr" anchorCtr="0" compatLnSpc="1"/>
          <a:lstStyle>
            <a:lvl1pPr algn="ctr">
              <a:defRPr sz="3600"/>
            </a:lvl1pPr>
          </a:lstStyle>
          <a:p>
            <a:r>
              <a:rPr lang="zh-CN" altLang="en-US"/>
              <a:t>单击此处编辑母版标题样式</a:t>
            </a:r>
            <a:endParaRPr lang="zh-CN" altLang="en-US"/>
          </a:p>
        </p:txBody>
      </p:sp>
      <p:sp>
        <p:nvSpPr>
          <p:cNvPr id="2062" name="Rectangle 14"/>
          <p:cNvSpPr>
            <a:spLocks noGrp="1" noChangeArrowheads="1"/>
          </p:cNvSpPr>
          <p:nvPr>
            <p:ph type="subTitle" sz="quarter" idx="1"/>
          </p:nvPr>
        </p:nvSpPr>
        <p:spPr bwMode="auto">
          <a:xfrm>
            <a:off x="1476375" y="5013325"/>
            <a:ext cx="6400800" cy="533400"/>
          </a:xfrm>
          <a:prstGeom prst="rect">
            <a:avLst/>
          </a:prstGeom>
          <a:noFill/>
          <a:ln>
            <a:miter lim="800000"/>
          </a:ln>
        </p:spPr>
        <p:txBody>
          <a:bodyPr vert="horz" wrap="square" lIns="91440" tIns="45720" rIns="91440" bIns="45720" numCol="1" anchor="t" anchorCtr="0" compatLnSpc="1"/>
          <a:lstStyle>
            <a:lvl1pPr marL="0" indent="0" algn="ctr">
              <a:buFont typeface="Wingdings" panose="05000000000000000000" pitchFamily="2" charset="2"/>
              <a:buNone/>
              <a:defRPr sz="1600" b="1">
                <a:solidFill>
                  <a:schemeClr val="tx2"/>
                </a:solidFill>
              </a:defRPr>
            </a:lvl1pPr>
          </a:lstStyle>
          <a:p>
            <a:r>
              <a:rPr lang="zh-CN" altLang="en-US"/>
              <a:t>单击此处编辑母版副标题样式</a:t>
            </a:r>
            <a:endParaRPr lang="zh-CN" altLang="en-US"/>
          </a:p>
        </p:txBody>
      </p:sp>
      <p:sp>
        <p:nvSpPr>
          <p:cNvPr id="15" name="Rectangle 15"/>
          <p:cNvSpPr>
            <a:spLocks noGrp="1" noChangeArrowheads="1"/>
          </p:cNvSpPr>
          <p:nvPr>
            <p:ph type="dt" sz="quarter" idx="10"/>
          </p:nvPr>
        </p:nvSpPr>
        <p:spPr bwMode="auto">
          <a:xfrm>
            <a:off x="457200" y="6519863"/>
            <a:ext cx="2133600" cy="152400"/>
          </a:xfrm>
          <a:prstGeom prst="rect">
            <a:avLst/>
          </a:prstGeom>
          <a:ln>
            <a:miter lim="800000"/>
          </a:ln>
        </p:spPr>
        <p:txBody>
          <a:bodyPr vert="horz" wrap="square" lIns="91440" tIns="45720" rIns="91440" bIns="45720" numCol="1" anchor="t" anchorCtr="0" compatLnSpc="1"/>
          <a:lstStyle>
            <a:lvl1pPr eaLnBrk="1" hangingPunct="1">
              <a:defRPr sz="1400">
                <a:effectLst>
                  <a:outerShdw blurRad="38100" dist="38100" dir="2700000" algn="tl">
                    <a:srgbClr val="C0C0C0"/>
                  </a:outerShdw>
                </a:effectLst>
                <a:latin typeface="+mn-lt"/>
                <a:ea typeface="+mn-ea"/>
              </a:defRPr>
            </a:lvl1pPr>
          </a:lstStyle>
          <a:p>
            <a:pPr>
              <a:defRPr/>
            </a:pPr>
            <a:endParaRPr lang="en-US" altLang="zh-CN"/>
          </a:p>
        </p:txBody>
      </p:sp>
      <p:sp>
        <p:nvSpPr>
          <p:cNvPr id="16" name="Rectangle 16"/>
          <p:cNvSpPr>
            <a:spLocks noGrp="1" noChangeArrowheads="1"/>
          </p:cNvSpPr>
          <p:nvPr>
            <p:ph type="ftr" sz="quarter" idx="11"/>
          </p:nvPr>
        </p:nvSpPr>
        <p:spPr bwMode="auto">
          <a:xfrm>
            <a:off x="3124200" y="6519863"/>
            <a:ext cx="2895600" cy="152400"/>
          </a:xfrm>
          <a:prstGeom prst="rect">
            <a:avLst/>
          </a:prstGeom>
          <a:ln>
            <a:miter lim="800000"/>
          </a:ln>
        </p:spPr>
        <p:txBody>
          <a:bodyPr vert="horz" wrap="square" lIns="91440" tIns="45720" rIns="91440" bIns="45720" numCol="1" anchor="t" anchorCtr="0" compatLnSpc="1"/>
          <a:lstStyle>
            <a:lvl1pPr algn="ctr" eaLnBrk="1" hangingPunct="1">
              <a:defRPr sz="1400">
                <a:effectLst>
                  <a:outerShdw blurRad="38100" dist="38100" dir="2700000" algn="tl">
                    <a:srgbClr val="C0C0C0"/>
                  </a:outerShdw>
                </a:effectLst>
                <a:latin typeface="+mn-lt"/>
                <a:ea typeface="+mn-ea"/>
              </a:defRPr>
            </a:lvl1pPr>
          </a:lstStyle>
          <a:p>
            <a:pPr>
              <a:defRPr/>
            </a:pPr>
            <a:endParaRPr lang="en-US" altLang="zh-CN"/>
          </a:p>
        </p:txBody>
      </p:sp>
      <p:sp>
        <p:nvSpPr>
          <p:cNvPr id="17" name="Rectangle 17"/>
          <p:cNvSpPr>
            <a:spLocks noGrp="1" noChangeArrowheads="1"/>
          </p:cNvSpPr>
          <p:nvPr>
            <p:ph type="sldNum" sz="quarter" idx="12"/>
          </p:nvPr>
        </p:nvSpPr>
        <p:spPr bwMode="auto">
          <a:xfrm>
            <a:off x="6553200" y="6519863"/>
            <a:ext cx="2133600" cy="152400"/>
          </a:xfrm>
          <a:prstGeom prst="rect">
            <a:avLst/>
          </a:prstGeom>
          <a:ln>
            <a:miter lim="800000"/>
          </a:ln>
        </p:spPr>
        <p:txBody>
          <a:bodyPr vert="horz" wrap="square" lIns="91440" tIns="45720" rIns="91440" bIns="45720" numCol="1" anchor="t" anchorCtr="0" compatLnSpc="1"/>
          <a:lstStyle>
            <a:lvl1pPr algn="r" eaLnBrk="1" hangingPunct="1">
              <a:defRPr sz="1400">
                <a:effectLst>
                  <a:outerShdw blurRad="38100" dist="38100" dir="2700000" algn="tl">
                    <a:srgbClr val="C0C0C0"/>
                  </a:outerShdw>
                </a:effectLst>
                <a:latin typeface="+mn-lt"/>
                <a:ea typeface="+mn-ea"/>
              </a:defRPr>
            </a:lvl1pPr>
          </a:lstStyle>
          <a:p>
            <a:pPr>
              <a:defRPr/>
            </a:pPr>
            <a:fld id="{8A49859E-B0BE-4E51-8174-5C44EB467D57}" type="slidenum">
              <a:rPr lang="ko-KR" altLang="en-US"/>
            </a:fld>
            <a:endParaRPr lang="en-US" altLang="zh-C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quarter" idx="2"/>
          </p:nvPr>
        </p:nvSpPr>
        <p:spPr>
          <a:xfrm>
            <a:off x="4648200" y="1600200"/>
            <a:ext cx="4038600" cy="2185988"/>
          </a:xfrm>
          <a:prstGeom prst="rect">
            <a:avLst/>
          </a:prstGeom>
        </p:spPr>
        <p:txBody>
          <a:bodyPr/>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内容占位符 4"/>
          <p:cNvSpPr>
            <a:spLocks noGrp="1"/>
          </p:cNvSpPr>
          <p:nvPr>
            <p:ph sz="quarter" idx="3"/>
          </p:nvPr>
        </p:nvSpPr>
        <p:spPr>
          <a:xfrm>
            <a:off x="4648200" y="3938588"/>
            <a:ext cx="4038600" cy="2187575"/>
          </a:xfrm>
          <a:prstGeom prst="rect">
            <a:avLst/>
          </a:prstGeom>
        </p:spPr>
        <p:txBody>
          <a:bodyPr/>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line and Content-No Q-Mktg bar">
    <p:bg>
      <p:bgPr>
        <a:solidFill>
          <a:schemeClr val="bg1"/>
        </a:solidFill>
        <a:effectLst/>
      </p:bgPr>
    </p:bg>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32550"/>
            <a:ext cx="914400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6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5740" y="182881"/>
            <a:ext cx="8229600" cy="680720"/>
          </a:xfrm>
        </p:spPr>
        <p:txBody>
          <a:bodyPr anchor="t">
            <a:noAutofit/>
          </a:bodyPr>
          <a:lstStyle>
            <a:lvl1pPr>
              <a:defRPr sz="3300" b="1" i="0" baseline="0">
                <a:solidFill>
                  <a:srgbClr val="C21C22"/>
                </a:solidFill>
                <a:latin typeface="+mn-lt"/>
                <a:ea typeface="+mj-ea"/>
                <a:cs typeface="Open Sans Semibold" charset="0"/>
              </a:defRPr>
            </a:lvl1pPr>
          </a:lstStyle>
          <a:p>
            <a:r>
              <a:rPr lang="en-US" dirty="0"/>
              <a:t>Click to edit Master title style</a:t>
            </a:r>
            <a:endParaRPr lang="en-US" dirty="0"/>
          </a:p>
        </p:txBody>
      </p:sp>
      <p:sp>
        <p:nvSpPr>
          <p:cNvPr id="3" name="Content Placeholder 2"/>
          <p:cNvSpPr>
            <a:spLocks noGrp="1"/>
          </p:cNvSpPr>
          <p:nvPr>
            <p:ph idx="1"/>
          </p:nvPr>
        </p:nvSpPr>
        <p:spPr>
          <a:xfrm>
            <a:off x="411481" y="1562688"/>
            <a:ext cx="7616852" cy="4404061"/>
          </a:xfrm>
        </p:spPr>
        <p:txBody>
          <a:bodyPr/>
          <a:lstStyle>
            <a:lvl1pPr>
              <a:lnSpc>
                <a:spcPct val="120000"/>
              </a:lnSpc>
              <a:spcBef>
                <a:spcPts val="0"/>
              </a:spcBef>
              <a:spcAft>
                <a:spcPts val="450"/>
              </a:spcAft>
              <a:defRPr b="0" i="0" spc="23" baseline="0">
                <a:latin typeface="+mj-lt"/>
                <a:ea typeface="+mn-ea"/>
                <a:cs typeface="Open Sans Light" charset="0"/>
              </a:defRPr>
            </a:lvl1pPr>
            <a:lvl2pPr>
              <a:lnSpc>
                <a:spcPct val="120000"/>
              </a:lnSpc>
              <a:spcBef>
                <a:spcPts val="0"/>
              </a:spcBef>
              <a:spcAft>
                <a:spcPts val="450"/>
              </a:spcAft>
              <a:defRPr b="0" i="0" spc="23" baseline="0">
                <a:latin typeface="+mj-lt"/>
                <a:ea typeface="+mn-ea"/>
                <a:cs typeface="Open Sans Light" charset="0"/>
              </a:defRPr>
            </a:lvl2pPr>
            <a:lvl3pPr>
              <a:lnSpc>
                <a:spcPct val="120000"/>
              </a:lnSpc>
              <a:spcBef>
                <a:spcPts val="0"/>
              </a:spcBef>
              <a:spcAft>
                <a:spcPts val="450"/>
              </a:spcAft>
              <a:defRPr b="0" i="0" spc="23" baseline="0">
                <a:latin typeface="+mj-lt"/>
                <a:ea typeface="+mn-ea"/>
                <a:cs typeface="Open Sans Light" charset="0"/>
              </a:defRPr>
            </a:lvl3pPr>
            <a:lvl4pPr>
              <a:lnSpc>
                <a:spcPct val="120000"/>
              </a:lnSpc>
              <a:spcBef>
                <a:spcPts val="0"/>
              </a:spcBef>
              <a:spcAft>
                <a:spcPts val="450"/>
              </a:spcAft>
              <a:defRPr b="0" i="0" spc="23" baseline="0">
                <a:latin typeface="+mj-lt"/>
                <a:ea typeface="+mn-ea"/>
                <a:cs typeface="Open Sans Light" charset="0"/>
              </a:defRPr>
            </a:lvl4pPr>
            <a:lvl5pPr>
              <a:lnSpc>
                <a:spcPct val="120000"/>
              </a:lnSpc>
              <a:spcBef>
                <a:spcPts val="0"/>
              </a:spcBef>
              <a:spcAft>
                <a:spcPts val="450"/>
              </a:spcAft>
              <a:defRPr b="0" i="0" spc="23" baseline="0">
                <a:latin typeface="+mj-lt"/>
                <a:ea typeface="+mn-ea"/>
                <a:cs typeface="Open Sans Light" charset="0"/>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9" name="Text Placeholder 8"/>
          <p:cNvSpPr>
            <a:spLocks noGrp="1"/>
          </p:cNvSpPr>
          <p:nvPr>
            <p:ph type="body" sz="quarter" idx="13"/>
          </p:nvPr>
        </p:nvSpPr>
        <p:spPr>
          <a:xfrm>
            <a:off x="205740" y="872785"/>
            <a:ext cx="8229839" cy="689902"/>
          </a:xfrm>
        </p:spPr>
        <p:txBody>
          <a:bodyPr/>
          <a:lstStyle>
            <a:lvl1pPr marL="0" indent="0">
              <a:buNone/>
              <a:defRPr i="1">
                <a:solidFill>
                  <a:srgbClr val="5D5B55"/>
                </a:solidFill>
                <a:latin typeface="+mj-lt"/>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endParaRPr lang="en-US" dirty="0"/>
          </a:p>
        </p:txBody>
      </p:sp>
      <p:sp>
        <p:nvSpPr>
          <p:cNvPr id="7" name="Slide Number Placeholder 5"/>
          <p:cNvSpPr>
            <a:spLocks noGrp="1"/>
          </p:cNvSpPr>
          <p:nvPr>
            <p:ph type="sldNum" sz="quarter" idx="14"/>
          </p:nvPr>
        </p:nvSpPr>
        <p:spPr>
          <a:xfrm>
            <a:off x="8780463" y="6419850"/>
            <a:ext cx="363537" cy="438150"/>
          </a:xfrm>
        </p:spPr>
        <p:txBody>
          <a:bodyPr vert="horz" wrap="square" lIns="91440" tIns="45720" rIns="91440" bIns="45720" numCol="1" anchor="t" anchorCtr="0" compatLnSpc="1"/>
          <a:lstStyle>
            <a:lvl1pPr>
              <a:defRPr b="1">
                <a:solidFill>
                  <a:schemeClr val="bg1"/>
                </a:solidFill>
                <a:latin typeface="+mn-lt"/>
                <a:ea typeface="+mn-ea"/>
                <a:cs typeface="Open Sans Semibold"/>
              </a:defRPr>
            </a:lvl1pPr>
          </a:lstStyle>
          <a:p>
            <a:pPr>
              <a:defRPr/>
            </a:pPr>
            <a:fld id="{BC953280-DBDE-461F-B076-E89C5ED92BC9}" type="slidenum">
              <a:rPr lang="en-US" altLang="zh-CN"/>
            </a:fld>
            <a:endParaRPr lang="en-US" altLang="zh-CN"/>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3148" y="368828"/>
            <a:ext cx="8019431" cy="251885"/>
          </a:xfrm>
        </p:spPr>
        <p:txBody>
          <a:bodyPr/>
          <a:lstStyle>
            <a:lvl1pPr>
              <a:defRPr/>
            </a:lvl1pPr>
          </a:lstStyle>
          <a:p>
            <a:r>
              <a:rPr lang="en-US" dirty="0"/>
              <a:t>Header avenir demi 24pt</a:t>
            </a:r>
            <a:endParaRPr lang="en-GB" dirty="0"/>
          </a:p>
        </p:txBody>
      </p:sp>
      <p:sp>
        <p:nvSpPr>
          <p:cNvPr id="3" name="Footer Placeholder 2"/>
          <p:cNvSpPr>
            <a:spLocks noGrp="1"/>
          </p:cNvSpPr>
          <p:nvPr>
            <p:ph type="ftr" sz="quarter" idx="10"/>
          </p:nvPr>
        </p:nvSpPr>
        <p:spPr>
          <a:xfrm>
            <a:off x="6030516" y="6348353"/>
            <a:ext cx="2469355" cy="215901"/>
          </a:xfrm>
        </p:spPr>
        <p:txBody>
          <a:bodyPr/>
          <a:lstStyle>
            <a:lvl1pPr>
              <a:defRPr>
                <a:latin typeface="+mn-lt"/>
              </a:defRPr>
            </a:lvl1pPr>
          </a:lstStyle>
          <a:p>
            <a:endParaRPr lang="en-GB" dirty="0"/>
          </a:p>
        </p:txBody>
      </p:sp>
      <p:sp>
        <p:nvSpPr>
          <p:cNvPr id="4" name="Slide Number Placeholder 3"/>
          <p:cNvSpPr>
            <a:spLocks noGrp="1"/>
          </p:cNvSpPr>
          <p:nvPr>
            <p:ph type="sldNum" sz="quarter" idx="11"/>
          </p:nvPr>
        </p:nvSpPr>
        <p:spPr>
          <a:xfrm>
            <a:off x="8629650" y="6348353"/>
            <a:ext cx="162000" cy="215900"/>
          </a:xfrm>
        </p:spPr>
        <p:txBody>
          <a:bodyPr/>
          <a:lstStyle>
            <a:lvl1pPr>
              <a:defRPr>
                <a:latin typeface="+mn-lt"/>
              </a:defRPr>
            </a:lvl1pPr>
          </a:lstStyle>
          <a:p>
            <a:fld id="{F59CD943-D024-467A-B36E-F11E1285ED75}" type="slidenum">
              <a:rPr lang="en-GB" smtClean="0"/>
            </a:fld>
            <a:endParaRPr lang="en-GB" dirty="0"/>
          </a:p>
        </p:txBody>
      </p:sp>
      <p:sp>
        <p:nvSpPr>
          <p:cNvPr id="10" name="Text Placeholder 9"/>
          <p:cNvSpPr>
            <a:spLocks noGrp="1"/>
          </p:cNvSpPr>
          <p:nvPr>
            <p:ph type="body" sz="quarter" idx="13" hasCustomPrompt="1"/>
          </p:nvPr>
        </p:nvSpPr>
        <p:spPr>
          <a:xfrm>
            <a:off x="413148" y="753852"/>
            <a:ext cx="8019431" cy="336973"/>
          </a:xfrm>
          <a:prstGeom prst="rect">
            <a:avLst/>
          </a:prstGeom>
        </p:spPr>
        <p:txBody>
          <a:bodyPr lIns="0" tIns="0" rIns="0" bIns="0">
            <a:noAutofit/>
          </a:bodyPr>
          <a:lstStyle>
            <a:lvl1pPr marL="0" indent="0">
              <a:lnSpc>
                <a:spcPct val="90000"/>
              </a:lnSpc>
              <a:buNone/>
              <a:defRPr sz="1500"/>
            </a:lvl1pPr>
          </a:lstStyle>
          <a:p>
            <a:pPr lvl="0"/>
            <a:r>
              <a:rPr lang="en-US" dirty="0"/>
              <a:t>Subhead avenir pro 20pt</a:t>
            </a:r>
            <a:endParaRPr lang="en-GB" dirty="0"/>
          </a:p>
        </p:txBody>
      </p:sp>
      <p:sp>
        <p:nvSpPr>
          <p:cNvPr id="13" name="Text Placeholder 12"/>
          <p:cNvSpPr>
            <a:spLocks noGrp="1"/>
          </p:cNvSpPr>
          <p:nvPr>
            <p:ph type="body" sz="quarter" idx="14"/>
          </p:nvPr>
        </p:nvSpPr>
        <p:spPr>
          <a:xfrm>
            <a:off x="413148" y="1808163"/>
            <a:ext cx="3807000" cy="4321175"/>
          </a:xfrm>
        </p:spPr>
        <p:txBody>
          <a:bodyPr/>
          <a:lstStyle>
            <a:lvl1pPr>
              <a:defRPr>
                <a:ea typeface="+mn-ea"/>
              </a:defRPr>
            </a:lvl1pPr>
            <a:lvl2pPr>
              <a:defRPr>
                <a:ea typeface="+mn-ea"/>
              </a:defRPr>
            </a:lvl2pPr>
            <a:lvl3pPr>
              <a:defRPr>
                <a:ea typeface="+mn-ea"/>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Text Placeholder 12"/>
          <p:cNvSpPr>
            <a:spLocks noGrp="1"/>
          </p:cNvSpPr>
          <p:nvPr>
            <p:ph type="body" sz="quarter" idx="15"/>
          </p:nvPr>
        </p:nvSpPr>
        <p:spPr>
          <a:xfrm>
            <a:off x="4625579" y="1808163"/>
            <a:ext cx="3807000" cy="4321175"/>
          </a:xfrm>
        </p:spPr>
        <p:txBody>
          <a:bodyPr/>
          <a:lstStyle>
            <a:lvl1pPr>
              <a:defRPr>
                <a:ea typeface="+mn-ea"/>
              </a:defRPr>
            </a:lvl1pPr>
            <a:lvl2pPr>
              <a:defRPr>
                <a:ea typeface="+mn-ea"/>
              </a:defRPr>
            </a:lvl2pPr>
            <a:lvl3pPr>
              <a:defRPr>
                <a:ea typeface="+mn-ea"/>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 Text / Chart">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311348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a:p>
        </p:txBody>
      </p:sp>
      <p:sp>
        <p:nvSpPr>
          <p:cNvPr id="2" name="Title 1"/>
          <p:cNvSpPr>
            <a:spLocks noGrp="1"/>
          </p:cNvSpPr>
          <p:nvPr>
            <p:ph type="title" hasCustomPrompt="1"/>
          </p:nvPr>
        </p:nvSpPr>
        <p:spPr>
          <a:xfrm>
            <a:off x="413148" y="368828"/>
            <a:ext cx="2408633" cy="251885"/>
          </a:xfrm>
        </p:spPr>
        <p:txBody>
          <a:bodyPr/>
          <a:lstStyle>
            <a:lvl1pPr>
              <a:defRPr>
                <a:solidFill>
                  <a:schemeClr val="accent1"/>
                </a:solidFill>
              </a:defRPr>
            </a:lvl1pPr>
          </a:lstStyle>
          <a:p>
            <a:r>
              <a:rPr lang="en-US" dirty="0"/>
              <a:t>Header avenir demi </a:t>
            </a:r>
            <a:endParaRPr lang="en-GB" dirty="0"/>
          </a:p>
        </p:txBody>
      </p:sp>
      <p:sp>
        <p:nvSpPr>
          <p:cNvPr id="3" name="Footer Placeholder 2"/>
          <p:cNvSpPr>
            <a:spLocks noGrp="1"/>
          </p:cNvSpPr>
          <p:nvPr>
            <p:ph type="ftr" sz="quarter" idx="10"/>
          </p:nvPr>
        </p:nvSpPr>
        <p:spPr>
          <a:xfrm>
            <a:off x="6030516" y="6348353"/>
            <a:ext cx="2469355" cy="215901"/>
          </a:xfrm>
        </p:spPr>
        <p:txBody>
          <a:bodyPr/>
          <a:lstStyle>
            <a:lvl1pPr>
              <a:defRPr>
                <a:latin typeface="+mn-lt"/>
              </a:defRPr>
            </a:lvl1pPr>
          </a:lstStyle>
          <a:p>
            <a:endParaRPr lang="en-GB"/>
          </a:p>
        </p:txBody>
      </p:sp>
      <p:sp>
        <p:nvSpPr>
          <p:cNvPr id="4" name="Slide Number Placeholder 3"/>
          <p:cNvSpPr>
            <a:spLocks noGrp="1"/>
          </p:cNvSpPr>
          <p:nvPr>
            <p:ph type="sldNum" sz="quarter" idx="11"/>
          </p:nvPr>
        </p:nvSpPr>
        <p:spPr>
          <a:xfrm>
            <a:off x="8631900" y="6348353"/>
            <a:ext cx="161924" cy="215900"/>
          </a:xfrm>
        </p:spPr>
        <p:txBody>
          <a:bodyPr/>
          <a:lstStyle>
            <a:lvl1pPr>
              <a:defRPr>
                <a:latin typeface="+mn-lt"/>
              </a:defRPr>
            </a:lvl1pPr>
          </a:lstStyle>
          <a:p>
            <a:fld id="{F59CD943-D024-467A-B36E-F11E1285ED75}" type="slidenum">
              <a:rPr lang="en-GB" smtClean="0"/>
            </a:fld>
            <a:endParaRPr lang="en-GB"/>
          </a:p>
        </p:txBody>
      </p:sp>
      <p:sp>
        <p:nvSpPr>
          <p:cNvPr id="10" name="Text Placeholder 9"/>
          <p:cNvSpPr>
            <a:spLocks noGrp="1"/>
          </p:cNvSpPr>
          <p:nvPr>
            <p:ph type="body" sz="quarter" idx="13" hasCustomPrompt="1"/>
          </p:nvPr>
        </p:nvSpPr>
        <p:spPr>
          <a:xfrm>
            <a:off x="413148" y="753852"/>
            <a:ext cx="2408633" cy="336973"/>
          </a:xfrm>
          <a:prstGeom prst="rect">
            <a:avLst/>
          </a:prstGeom>
        </p:spPr>
        <p:txBody>
          <a:bodyPr lIns="0" tIns="0" rIns="0" bIns="0">
            <a:noAutofit/>
          </a:bodyPr>
          <a:lstStyle>
            <a:lvl1pPr marL="0" indent="0">
              <a:lnSpc>
                <a:spcPct val="90000"/>
              </a:lnSpc>
              <a:buNone/>
              <a:defRPr sz="1500">
                <a:solidFill>
                  <a:schemeClr val="tx1"/>
                </a:solidFill>
              </a:defRPr>
            </a:lvl1pPr>
          </a:lstStyle>
          <a:p>
            <a:pPr lvl="0"/>
            <a:r>
              <a:rPr lang="en-US" dirty="0"/>
              <a:t>Subhead avenir pro 20pt</a:t>
            </a:r>
            <a:endParaRPr lang="en-GB" dirty="0"/>
          </a:p>
        </p:txBody>
      </p:sp>
      <p:sp>
        <p:nvSpPr>
          <p:cNvPr id="13" name="Text Placeholder 12"/>
          <p:cNvSpPr>
            <a:spLocks noGrp="1"/>
          </p:cNvSpPr>
          <p:nvPr>
            <p:ph type="body" sz="quarter" idx="14"/>
          </p:nvPr>
        </p:nvSpPr>
        <p:spPr>
          <a:xfrm>
            <a:off x="413149" y="1808163"/>
            <a:ext cx="2408633" cy="4321175"/>
          </a:xfrm>
        </p:spPr>
        <p:txBody>
          <a:bodyPr/>
          <a:lstStyle>
            <a:lvl1pPr>
              <a:defRPr>
                <a:solidFill>
                  <a:schemeClr val="tx1"/>
                </a:solidFill>
                <a:ea typeface="+mn-ea"/>
              </a:defRPr>
            </a:lvl1pPr>
            <a:lvl2pPr>
              <a:defRPr>
                <a:solidFill>
                  <a:schemeClr val="tx1"/>
                </a:solidFill>
                <a:ea typeface="+mn-ea"/>
              </a:defRPr>
            </a:lvl2pPr>
            <a:lvl3pPr>
              <a:defRPr>
                <a:solidFill>
                  <a:schemeClr val="tx1"/>
                </a:solidFill>
                <a:ea typeface="+mn-ea"/>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Chart Placeholder 10"/>
          <p:cNvSpPr>
            <a:spLocks noGrp="1"/>
          </p:cNvSpPr>
          <p:nvPr>
            <p:ph type="chart" sz="quarter" idx="15" hasCustomPrompt="1"/>
          </p:nvPr>
        </p:nvSpPr>
        <p:spPr>
          <a:xfrm>
            <a:off x="3518101" y="1089025"/>
            <a:ext cx="5212754" cy="3060700"/>
          </a:xfrm>
        </p:spPr>
        <p:txBody>
          <a:bodyPr tIns="108000"/>
          <a:lstStyle>
            <a:lvl1pPr marL="0" indent="0" algn="ctr">
              <a:buNone/>
              <a:defRPr sz="750">
                <a:solidFill>
                  <a:schemeClr val="accent1"/>
                </a:solidFill>
              </a:defRPr>
            </a:lvl1pPr>
          </a:lstStyle>
          <a:p>
            <a:pPr marL="0" marR="0" lvl="0" indent="0" algn="ctr" defTabSz="914400" rtl="0" eaLnBrk="1" fontAlgn="auto" latinLnBrk="0" hangingPunct="1">
              <a:lnSpc>
                <a:spcPct val="100000"/>
              </a:lnSpc>
              <a:spcBef>
                <a:spcPts val="900"/>
              </a:spcBef>
              <a:spcAft>
                <a:spcPts val="0"/>
              </a:spcAft>
              <a:buClrTx/>
              <a:buSzTx/>
              <a:buFont typeface="Arial" panose="020B0604020202020204" pitchFamily="34" charset="0"/>
              <a:buNone/>
              <a:defRPr/>
            </a:pPr>
            <a:r>
              <a:rPr lang="en-US" dirty="0"/>
              <a:t>Click </a:t>
            </a:r>
            <a:r>
              <a:rPr lang="en-US" noProof="0" dirty="0"/>
              <a:t>center</a:t>
            </a:r>
            <a:r>
              <a:rPr lang="en-US" dirty="0"/>
              <a:t> icon to insert image </a:t>
            </a:r>
            <a:r>
              <a:rPr lang="en-GB" dirty="0"/>
              <a:t>graph or chart</a:t>
            </a:r>
            <a:endParaRPr lang="en-GB" dirty="0"/>
          </a:p>
        </p:txBody>
      </p:sp>
      <p:sp>
        <p:nvSpPr>
          <p:cNvPr id="12" name="Text Placeholder 9"/>
          <p:cNvSpPr>
            <a:spLocks noGrp="1"/>
          </p:cNvSpPr>
          <p:nvPr>
            <p:ph type="body" sz="quarter" idx="16" hasCustomPrompt="1"/>
          </p:nvPr>
        </p:nvSpPr>
        <p:spPr>
          <a:xfrm>
            <a:off x="3518101" y="368828"/>
            <a:ext cx="5212751" cy="359835"/>
          </a:xfrm>
          <a:prstGeom prst="rect">
            <a:avLst/>
          </a:prstGeom>
        </p:spPr>
        <p:txBody>
          <a:bodyPr lIns="0" tIns="0" rIns="0" bIns="0" anchor="t" anchorCtr="0">
            <a:noAutofit/>
          </a:bodyPr>
          <a:lstStyle>
            <a:lvl1pPr marL="0" indent="0" algn="l">
              <a:buNone/>
              <a:defRPr sz="1050">
                <a:solidFill>
                  <a:schemeClr val="tx1"/>
                </a:solidFill>
                <a:latin typeface="+mn-lt"/>
              </a:defRPr>
            </a:lvl1pPr>
          </a:lstStyle>
          <a:p>
            <a:pPr lvl="0"/>
            <a:r>
              <a:rPr lang="en-US"/>
              <a:t>Avenir Demi 14pt lorem ipsum dolor sit </a:t>
            </a:r>
            <a:r>
              <a:rPr lang="en-US" err="1"/>
              <a:t>amet</a:t>
            </a:r>
            <a:endParaRPr lang="en-US"/>
          </a:p>
        </p:txBody>
      </p:sp>
      <p:sp>
        <p:nvSpPr>
          <p:cNvPr id="14" name="Text Placeholder 9"/>
          <p:cNvSpPr>
            <a:spLocks noGrp="1"/>
          </p:cNvSpPr>
          <p:nvPr>
            <p:ph type="body" sz="quarter" idx="17" hasCustomPrompt="1"/>
          </p:nvPr>
        </p:nvSpPr>
        <p:spPr>
          <a:xfrm>
            <a:off x="3924300" y="4513789"/>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15" name="Text Placeholder 9"/>
          <p:cNvSpPr>
            <a:spLocks noGrp="1"/>
          </p:cNvSpPr>
          <p:nvPr>
            <p:ph type="body" sz="quarter" idx="18" hasCustomPrompt="1"/>
          </p:nvPr>
        </p:nvSpPr>
        <p:spPr>
          <a:xfrm>
            <a:off x="6732983" y="4513789"/>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16" name="Text Placeholder 9"/>
          <p:cNvSpPr>
            <a:spLocks noGrp="1"/>
          </p:cNvSpPr>
          <p:nvPr>
            <p:ph type="body" sz="quarter" idx="19" hasCustomPrompt="1"/>
          </p:nvPr>
        </p:nvSpPr>
        <p:spPr>
          <a:xfrm>
            <a:off x="3924300" y="5053539"/>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17" name="Text Placeholder 9"/>
          <p:cNvSpPr>
            <a:spLocks noGrp="1"/>
          </p:cNvSpPr>
          <p:nvPr>
            <p:ph type="body" sz="quarter" idx="20" hasCustomPrompt="1"/>
          </p:nvPr>
        </p:nvSpPr>
        <p:spPr>
          <a:xfrm>
            <a:off x="6732983" y="5053539"/>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18" name="Text Placeholder 9"/>
          <p:cNvSpPr>
            <a:spLocks noGrp="1"/>
          </p:cNvSpPr>
          <p:nvPr>
            <p:ph type="body" sz="quarter" idx="21" hasCustomPrompt="1"/>
          </p:nvPr>
        </p:nvSpPr>
        <p:spPr>
          <a:xfrm>
            <a:off x="3924300" y="5593818"/>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19" name="Text Placeholder 9"/>
          <p:cNvSpPr>
            <a:spLocks noGrp="1"/>
          </p:cNvSpPr>
          <p:nvPr>
            <p:ph type="body" sz="quarter" idx="22" hasCustomPrompt="1"/>
          </p:nvPr>
        </p:nvSpPr>
        <p:spPr>
          <a:xfrm>
            <a:off x="6732983" y="5593818"/>
            <a:ext cx="1403748" cy="359835"/>
          </a:xfrm>
          <a:prstGeom prst="rect">
            <a:avLst/>
          </a:prstGeom>
        </p:spPr>
        <p:txBody>
          <a:bodyPr lIns="0" tIns="0" rIns="0" bIns="0" anchor="t" anchorCtr="0">
            <a:noAutofit/>
          </a:bodyPr>
          <a:lstStyle>
            <a:lvl1pPr marL="0" indent="0" algn="l">
              <a:buNone/>
              <a:defRPr sz="900">
                <a:solidFill>
                  <a:schemeClr val="tx1"/>
                </a:solidFill>
                <a:latin typeface="+mn-lt"/>
              </a:defRPr>
            </a:lvl1pPr>
          </a:lstStyle>
          <a:p>
            <a:pPr lvl="0"/>
            <a:r>
              <a:rPr lang="en-US"/>
              <a:t>Avenir Demi 12pt lorem ipsum dolor sit </a:t>
            </a:r>
            <a:r>
              <a:rPr lang="en-US" err="1"/>
              <a:t>amet</a:t>
            </a:r>
            <a:endParaRPr lang="en-US"/>
          </a:p>
        </p:txBody>
      </p:sp>
      <p:sp>
        <p:nvSpPr>
          <p:cNvPr id="20" name="Text Placeholder 9"/>
          <p:cNvSpPr>
            <a:spLocks noGrp="1"/>
          </p:cNvSpPr>
          <p:nvPr>
            <p:ph type="body" sz="quarter" idx="23" hasCustomPrompt="1"/>
          </p:nvPr>
        </p:nvSpPr>
        <p:spPr>
          <a:xfrm>
            <a:off x="3518101" y="4508500"/>
            <a:ext cx="162000" cy="216000"/>
          </a:xfrm>
          <a:prstGeom prst="rect">
            <a:avLst/>
          </a:prstGeom>
          <a:solidFill>
            <a:schemeClr val="accent1"/>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a</a:t>
            </a:r>
            <a:endParaRPr lang="en-US"/>
          </a:p>
        </p:txBody>
      </p:sp>
      <p:sp>
        <p:nvSpPr>
          <p:cNvPr id="21" name="Text Placeholder 9"/>
          <p:cNvSpPr>
            <a:spLocks noGrp="1"/>
          </p:cNvSpPr>
          <p:nvPr>
            <p:ph type="body" sz="quarter" idx="24" hasCustomPrompt="1"/>
          </p:nvPr>
        </p:nvSpPr>
        <p:spPr>
          <a:xfrm>
            <a:off x="3518101" y="5053475"/>
            <a:ext cx="162000" cy="216000"/>
          </a:xfrm>
          <a:prstGeom prst="rect">
            <a:avLst/>
          </a:prstGeom>
          <a:solidFill>
            <a:schemeClr val="accent2"/>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b</a:t>
            </a:r>
            <a:endParaRPr lang="en-US"/>
          </a:p>
        </p:txBody>
      </p:sp>
      <p:sp>
        <p:nvSpPr>
          <p:cNvPr id="22" name="Text Placeholder 9"/>
          <p:cNvSpPr>
            <a:spLocks noGrp="1"/>
          </p:cNvSpPr>
          <p:nvPr>
            <p:ph type="body" sz="quarter" idx="25" hasCustomPrompt="1"/>
          </p:nvPr>
        </p:nvSpPr>
        <p:spPr>
          <a:xfrm>
            <a:off x="3518101" y="5598450"/>
            <a:ext cx="162000" cy="216000"/>
          </a:xfrm>
          <a:prstGeom prst="rect">
            <a:avLst/>
          </a:prstGeom>
          <a:solidFill>
            <a:schemeClr val="accent3"/>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c</a:t>
            </a:r>
            <a:endParaRPr lang="en-US"/>
          </a:p>
        </p:txBody>
      </p:sp>
      <p:sp>
        <p:nvSpPr>
          <p:cNvPr id="23" name="Text Placeholder 9"/>
          <p:cNvSpPr>
            <a:spLocks noGrp="1"/>
          </p:cNvSpPr>
          <p:nvPr>
            <p:ph type="body" sz="quarter" idx="26" hasCustomPrompt="1"/>
          </p:nvPr>
        </p:nvSpPr>
        <p:spPr>
          <a:xfrm>
            <a:off x="6331050" y="4508500"/>
            <a:ext cx="162000" cy="216000"/>
          </a:xfrm>
          <a:prstGeom prst="rect">
            <a:avLst/>
          </a:prstGeom>
          <a:solidFill>
            <a:schemeClr val="accent4"/>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d</a:t>
            </a:r>
            <a:endParaRPr lang="en-US"/>
          </a:p>
        </p:txBody>
      </p:sp>
      <p:sp>
        <p:nvSpPr>
          <p:cNvPr id="24" name="Text Placeholder 9"/>
          <p:cNvSpPr>
            <a:spLocks noGrp="1"/>
          </p:cNvSpPr>
          <p:nvPr>
            <p:ph type="body" sz="quarter" idx="27" hasCustomPrompt="1"/>
          </p:nvPr>
        </p:nvSpPr>
        <p:spPr>
          <a:xfrm>
            <a:off x="6331050" y="5053475"/>
            <a:ext cx="162000" cy="216000"/>
          </a:xfrm>
          <a:prstGeom prst="rect">
            <a:avLst/>
          </a:prstGeom>
          <a:solidFill>
            <a:schemeClr val="accent5"/>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e</a:t>
            </a:r>
            <a:endParaRPr lang="en-US"/>
          </a:p>
        </p:txBody>
      </p:sp>
      <p:sp>
        <p:nvSpPr>
          <p:cNvPr id="25" name="Text Placeholder 9"/>
          <p:cNvSpPr>
            <a:spLocks noGrp="1"/>
          </p:cNvSpPr>
          <p:nvPr>
            <p:ph type="body" sz="quarter" idx="28" hasCustomPrompt="1"/>
          </p:nvPr>
        </p:nvSpPr>
        <p:spPr>
          <a:xfrm>
            <a:off x="6331050" y="5598450"/>
            <a:ext cx="162000" cy="216000"/>
          </a:xfrm>
          <a:prstGeom prst="rect">
            <a:avLst/>
          </a:prstGeom>
          <a:solidFill>
            <a:schemeClr val="accent6"/>
          </a:solidFill>
        </p:spPr>
        <p:txBody>
          <a:bodyPr lIns="0" tIns="0" rIns="0" bIns="0" anchor="ctr" anchorCtr="0">
            <a:noAutofit/>
          </a:bodyPr>
          <a:lstStyle>
            <a:lvl1pPr marL="0" indent="0" algn="ctr">
              <a:buNone/>
              <a:defRPr sz="900" cap="all" baseline="0">
                <a:solidFill>
                  <a:schemeClr val="bg1"/>
                </a:solidFill>
                <a:latin typeface="+mj-lt"/>
              </a:defRPr>
            </a:lvl1pPr>
          </a:lstStyle>
          <a:p>
            <a:pPr lvl="0"/>
            <a:r>
              <a:rPr lang="en-US"/>
              <a:t>f</a:t>
            </a:r>
            <a:endParaRPr lang="en-US"/>
          </a:p>
        </p:txBody>
      </p:sp>
      <p:pic>
        <p:nvPicPr>
          <p:cNvPr id="6" name="Picture Placeholder 13"/>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6945" t="19498" r="6909" b="15243"/>
          <a:stretch>
            <a:fillRect/>
          </a:stretch>
        </p:blipFill>
        <p:spPr>
          <a:xfrm>
            <a:off x="411362" y="6308725"/>
            <a:ext cx="1036064" cy="309766"/>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pic>
        <p:nvPicPr>
          <p:cNvPr id="7" name="图片 6" descr="蓝色的灯光&#10;&#10;低可信度描述已自动生成"/>
          <p:cNvPicPr>
            <a:picLocks noChangeAspect="1"/>
          </p:cNvPicPr>
          <p:nvPr userDrawn="1">
            <p:custDataLst>
              <p:tags r:id="rId2"/>
            </p:custDataLst>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标题 1"/>
          <p:cNvSpPr>
            <a:spLocks noGrp="1"/>
          </p:cNvSpPr>
          <p:nvPr>
            <p:ph type="ctrTitle"/>
            <p:custDataLst>
              <p:tags r:id="rId4"/>
            </p:custDataLst>
          </p:nvPr>
        </p:nvSpPr>
        <p:spPr>
          <a:xfrm>
            <a:off x="902943" y="2869464"/>
            <a:ext cx="4614344" cy="1981832"/>
          </a:xfrm>
        </p:spPr>
        <p:txBody>
          <a:bodyPr wrap="square" anchor="t">
            <a:normAutofit/>
          </a:bodyPr>
          <a:lstStyle>
            <a:lvl1pPr algn="l">
              <a:lnSpc>
                <a:spcPct val="100000"/>
              </a:lnSpc>
              <a:defRPr sz="4500">
                <a:gradFill>
                  <a:gsLst>
                    <a:gs pos="15000">
                      <a:schemeClr val="accent1">
                        <a:lumMod val="90000"/>
                        <a:lumOff val="10000"/>
                      </a:schemeClr>
                    </a:gs>
                    <a:gs pos="100000">
                      <a:schemeClr val="accent2"/>
                    </a:gs>
                  </a:gsLst>
                  <a:lin ang="2700000" scaled="1"/>
                </a:gradFill>
              </a:defRPr>
            </a:lvl1pPr>
          </a:lstStyle>
          <a:p>
            <a:r>
              <a:rPr lang="zh-CN" altLang="en-US" dirty="0"/>
              <a:t>单击此处编辑母版标题样式</a:t>
            </a:r>
            <a:endParaRPr lang="zh-CN" altLang="en-US" dirty="0"/>
          </a:p>
        </p:txBody>
      </p:sp>
      <p:sp>
        <p:nvSpPr>
          <p:cNvPr id="3" name="副标题 2"/>
          <p:cNvSpPr>
            <a:spLocks noGrp="1"/>
          </p:cNvSpPr>
          <p:nvPr>
            <p:ph type="subTitle" idx="1" hasCustomPrompt="1"/>
            <p:custDataLst>
              <p:tags r:id="rId5"/>
            </p:custDataLst>
          </p:nvPr>
        </p:nvSpPr>
        <p:spPr>
          <a:xfrm>
            <a:off x="902943" y="1237257"/>
            <a:ext cx="4178505" cy="1098947"/>
          </a:xfrm>
        </p:spPr>
        <p:txBody>
          <a:bodyPr wrap="square" anchor="b">
            <a:normAutofit/>
          </a:bodyPr>
          <a:lstStyle>
            <a:lvl1pPr marL="0" indent="0" algn="l">
              <a:lnSpc>
                <a:spcPct val="100000"/>
              </a:lnSpc>
              <a:buNone/>
              <a:defRPr sz="2400" b="1">
                <a:ln w="6350">
                  <a:gradFill>
                    <a:gsLst>
                      <a:gs pos="0">
                        <a:schemeClr val="accent1">
                          <a:lumMod val="90000"/>
                          <a:lumOff val="10000"/>
                        </a:schemeClr>
                      </a:gs>
                      <a:gs pos="100000">
                        <a:schemeClr val="accent1">
                          <a:alpha val="100000"/>
                          <a:lumMod val="90000"/>
                          <a:lumOff val="10000"/>
                        </a:schemeClr>
                      </a:gs>
                    </a:gsLst>
                    <a:lin ang="5400000" scaled="1"/>
                  </a:gradFill>
                </a:ln>
                <a:no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副标题</a:t>
            </a:r>
            <a:endParaRPr lang="zh-CN" altLang="en-US" dirty="0"/>
          </a:p>
        </p:txBody>
      </p:sp>
      <p:sp>
        <p:nvSpPr>
          <p:cNvPr id="4" name="日期占位符 3"/>
          <p:cNvSpPr>
            <a:spLocks noGrp="1"/>
          </p:cNvSpPr>
          <p:nvPr>
            <p:ph type="dt" sz="half" idx="10"/>
            <p:custDataLst>
              <p:tags r:id="rId6"/>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5" name="页脚占位符 4"/>
          <p:cNvSpPr>
            <a:spLocks noGrp="1"/>
          </p:cNvSpPr>
          <p:nvPr>
            <p:ph type="ftr" sz="quarter" idx="11"/>
            <p:custDataLst>
              <p:tags r:id="rId7"/>
            </p:custDataLst>
          </p:nvPr>
        </p:nvSpPr>
        <p:spPr>
          <a:xfrm>
            <a:off x="3028950" y="6401991"/>
            <a:ext cx="3086100" cy="273844"/>
          </a:xfrm>
        </p:spPr>
        <p:txBody>
          <a:bodyPr>
            <a:normAutofit/>
          </a:bodyPr>
          <a:lstStyle/>
          <a:p>
            <a:endParaRPr lang="zh-CN" altLang="en-US" dirty="0"/>
          </a:p>
        </p:txBody>
      </p:sp>
      <p:sp>
        <p:nvSpPr>
          <p:cNvPr id="6" name="灯片编号占位符 5"/>
          <p:cNvSpPr>
            <a:spLocks noGrp="1"/>
          </p:cNvSpPr>
          <p:nvPr>
            <p:ph type="sldNum" sz="quarter" idx="12"/>
            <p:custDataLst>
              <p:tags r:id="rId8"/>
            </p:custDataLst>
          </p:nvPr>
        </p:nvSpPr>
        <p:spPr>
          <a:xfrm>
            <a:off x="6457950" y="6401991"/>
            <a:ext cx="2057400" cy="273844"/>
          </a:xfrm>
        </p:spPr>
        <p:txBody>
          <a:bodyPr wrap="square">
            <a:normAutofit/>
          </a:bodyPr>
          <a:lstStyle/>
          <a:p>
            <a:fld id="{BE5F26B5-172A-4DC2-B0B7-181CFC56B87C}" type="slidenum">
              <a:rPr lang="zh-CN" altLang="en-US" smtClean="0"/>
            </a:fld>
            <a:endParaRPr lang="zh-CN" altLang="en-US"/>
          </a:p>
        </p:txBody>
      </p:sp>
      <p:sp>
        <p:nvSpPr>
          <p:cNvPr id="24" name="署名占位符 10"/>
          <p:cNvSpPr>
            <a:spLocks noGrp="1"/>
          </p:cNvSpPr>
          <p:nvPr>
            <p:ph type="body" sz="quarter" idx="17" hasCustomPrompt="1"/>
            <p:custDataLst>
              <p:tags r:id="rId9"/>
            </p:custDataLst>
          </p:nvPr>
        </p:nvSpPr>
        <p:spPr>
          <a:xfrm>
            <a:off x="902943" y="5353900"/>
            <a:ext cx="1485000" cy="324000"/>
          </a:xfrm>
          <a:prstGeom prst="roundRect">
            <a:avLst>
              <a:gd name="adj" fmla="val 50000"/>
            </a:avLst>
          </a:prstGeom>
          <a:gradFill>
            <a:gsLst>
              <a:gs pos="0">
                <a:schemeClr val="accent1">
                  <a:lumMod val="90000"/>
                  <a:lumOff val="10000"/>
                </a:schemeClr>
              </a:gs>
              <a:gs pos="100000">
                <a:schemeClr val="accent1">
                  <a:lumMod val="90000"/>
                  <a:lumOff val="10000"/>
                </a:schemeClr>
              </a:gs>
            </a:gsLst>
            <a:lin ang="5400000" scaled="0"/>
          </a:gradFill>
        </p:spPr>
        <p:txBody>
          <a:bodyPr wrap="square" anchor="ctr">
            <a:normAutofit/>
          </a:bodyPr>
          <a:lstStyle>
            <a:lvl1pPr marL="0" indent="0" algn="ctr">
              <a:lnSpc>
                <a:spcPct val="100000"/>
              </a:lnSpc>
              <a:buNone/>
              <a:defRPr sz="1200" b="1">
                <a:solidFill>
                  <a:schemeClr val="bg2"/>
                </a:solidFill>
              </a:defRPr>
            </a:lvl1pPr>
          </a:lstStyle>
          <a:p>
            <a:pPr lvl="0"/>
            <a:r>
              <a:rPr lang="zh-CN" altLang="en-US" dirty="0"/>
              <a:t>署名</a:t>
            </a:r>
            <a:endParaRPr lang="zh-CN" altLang="en-US" dirty="0"/>
          </a:p>
        </p:txBody>
      </p:sp>
      <p:sp>
        <p:nvSpPr>
          <p:cNvPr id="9" name="AutoShape 3"/>
          <p:cNvSpPr>
            <a:spLocks noChangeAspect="1" noChangeArrowheads="1" noTextEdit="1"/>
          </p:cNvSpPr>
          <p:nvPr>
            <p:custDataLst>
              <p:tags r:id="rId10"/>
            </p:custDataLst>
          </p:nvPr>
        </p:nvSpPr>
        <p:spPr bwMode="auto">
          <a:xfrm>
            <a:off x="303539" y="2453173"/>
            <a:ext cx="35789" cy="174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zh-CN" altLang="en-US" sz="1350"/>
          </a:p>
        </p:txBody>
      </p:sp>
      <p:sp>
        <p:nvSpPr>
          <p:cNvPr id="11" name="Freeform 5"/>
          <p:cNvSpPr/>
          <p:nvPr>
            <p:custDataLst>
              <p:tags r:id="rId11"/>
            </p:custDataLst>
          </p:nvPr>
        </p:nvSpPr>
        <p:spPr bwMode="auto">
          <a:xfrm>
            <a:off x="298659" y="2213231"/>
            <a:ext cx="34162" cy="333479"/>
          </a:xfrm>
          <a:custGeom>
            <a:avLst/>
            <a:gdLst>
              <a:gd name="T0" fmla="*/ 0 w 6"/>
              <a:gd name="T1" fmla="*/ 83 h 86"/>
              <a:gd name="T2" fmla="*/ 0 w 6"/>
              <a:gd name="T3" fmla="*/ 3 h 86"/>
              <a:gd name="T4" fmla="*/ 3 w 6"/>
              <a:gd name="T5" fmla="*/ 0 h 86"/>
              <a:gd name="T6" fmla="*/ 6 w 6"/>
              <a:gd name="T7" fmla="*/ 3 h 86"/>
              <a:gd name="T8" fmla="*/ 6 w 6"/>
              <a:gd name="T9" fmla="*/ 83 h 86"/>
              <a:gd name="T10" fmla="*/ 3 w 6"/>
              <a:gd name="T11" fmla="*/ 86 h 86"/>
              <a:gd name="T12" fmla="*/ 0 w 6"/>
              <a:gd name="T13" fmla="*/ 83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0" y="83"/>
                </a:moveTo>
                <a:cubicBezTo>
                  <a:pt x="0" y="3"/>
                  <a:pt x="0" y="3"/>
                  <a:pt x="0" y="3"/>
                </a:cubicBezTo>
                <a:cubicBezTo>
                  <a:pt x="0" y="2"/>
                  <a:pt x="1" y="0"/>
                  <a:pt x="3" y="0"/>
                </a:cubicBezTo>
                <a:cubicBezTo>
                  <a:pt x="5" y="0"/>
                  <a:pt x="6" y="2"/>
                  <a:pt x="6" y="3"/>
                </a:cubicBezTo>
                <a:cubicBezTo>
                  <a:pt x="6" y="83"/>
                  <a:pt x="6" y="83"/>
                  <a:pt x="6" y="83"/>
                </a:cubicBezTo>
                <a:cubicBezTo>
                  <a:pt x="6" y="85"/>
                  <a:pt x="5" y="86"/>
                  <a:pt x="3" y="86"/>
                </a:cubicBezTo>
                <a:cubicBezTo>
                  <a:pt x="1" y="86"/>
                  <a:pt x="0" y="85"/>
                  <a:pt x="0" y="83"/>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12" name="Freeform 6"/>
          <p:cNvSpPr/>
          <p:nvPr>
            <p:custDataLst>
              <p:tags r:id="rId12"/>
            </p:custDataLst>
          </p:nvPr>
        </p:nvSpPr>
        <p:spPr bwMode="auto">
          <a:xfrm>
            <a:off x="298659" y="284819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3" name="Freeform 7"/>
          <p:cNvSpPr/>
          <p:nvPr>
            <p:custDataLst>
              <p:tags r:id="rId13"/>
            </p:custDataLst>
          </p:nvPr>
        </p:nvSpPr>
        <p:spPr bwMode="auto">
          <a:xfrm>
            <a:off x="298659" y="347936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5" name="Freeform 8"/>
          <p:cNvSpPr/>
          <p:nvPr>
            <p:custDataLst>
              <p:tags r:id="rId14"/>
            </p:custDataLst>
          </p:nvPr>
        </p:nvSpPr>
        <p:spPr bwMode="auto">
          <a:xfrm>
            <a:off x="298659" y="411053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dirty="0"/>
          </a:p>
        </p:txBody>
      </p:sp>
      <p:sp>
        <p:nvSpPr>
          <p:cNvPr id="17" name="Freeform 15"/>
          <p:cNvSpPr/>
          <p:nvPr userDrawn="1">
            <p:custDataLst>
              <p:tags r:id="rId15"/>
            </p:custDataLst>
          </p:nvPr>
        </p:nvSpPr>
        <p:spPr bwMode="auto">
          <a:xfrm>
            <a:off x="301466" y="475377"/>
            <a:ext cx="275273" cy="32861"/>
          </a:xfrm>
          <a:custGeom>
            <a:avLst/>
            <a:gdLst>
              <a:gd name="T0" fmla="*/ 52 w 55"/>
              <a:gd name="T1" fmla="*/ 8 h 8"/>
              <a:gd name="T2" fmla="*/ 4 w 55"/>
              <a:gd name="T3" fmla="*/ 8 h 8"/>
              <a:gd name="T4" fmla="*/ 0 w 55"/>
              <a:gd name="T5" fmla="*/ 4 h 8"/>
              <a:gd name="T6" fmla="*/ 0 w 55"/>
              <a:gd name="T7" fmla="*/ 4 h 8"/>
              <a:gd name="T8" fmla="*/ 4 w 55"/>
              <a:gd name="T9" fmla="*/ 0 h 8"/>
              <a:gd name="T10" fmla="*/ 52 w 55"/>
              <a:gd name="T11" fmla="*/ 0 h 8"/>
              <a:gd name="T12" fmla="*/ 55 w 55"/>
              <a:gd name="T13" fmla="*/ 4 h 8"/>
              <a:gd name="T14" fmla="*/ 55 w 55"/>
              <a:gd name="T15" fmla="*/ 4 h 8"/>
              <a:gd name="T16" fmla="*/ 52 w 5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8">
                <a:moveTo>
                  <a:pt x="52" y="8"/>
                </a:moveTo>
                <a:cubicBezTo>
                  <a:pt x="4" y="8"/>
                  <a:pt x="4" y="8"/>
                  <a:pt x="4" y="8"/>
                </a:cubicBezTo>
                <a:cubicBezTo>
                  <a:pt x="2" y="8"/>
                  <a:pt x="0" y="6"/>
                  <a:pt x="0" y="4"/>
                </a:cubicBezTo>
                <a:cubicBezTo>
                  <a:pt x="0" y="4"/>
                  <a:pt x="0" y="4"/>
                  <a:pt x="0" y="4"/>
                </a:cubicBezTo>
                <a:cubicBezTo>
                  <a:pt x="0" y="2"/>
                  <a:pt x="2" y="0"/>
                  <a:pt x="4" y="0"/>
                </a:cubicBezTo>
                <a:cubicBezTo>
                  <a:pt x="52" y="0"/>
                  <a:pt x="52" y="0"/>
                  <a:pt x="52" y="0"/>
                </a:cubicBezTo>
                <a:cubicBezTo>
                  <a:pt x="54" y="0"/>
                  <a:pt x="55" y="2"/>
                  <a:pt x="55" y="4"/>
                </a:cubicBezTo>
                <a:cubicBezTo>
                  <a:pt x="55" y="4"/>
                  <a:pt x="55" y="4"/>
                  <a:pt x="55" y="4"/>
                </a:cubicBezTo>
                <a:cubicBezTo>
                  <a:pt x="55" y="6"/>
                  <a:pt x="54" y="8"/>
                  <a:pt x="52"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9" name="Freeform 16"/>
          <p:cNvSpPr/>
          <p:nvPr userDrawn="1">
            <p:custDataLst>
              <p:tags r:id="rId16"/>
            </p:custDataLst>
          </p:nvPr>
        </p:nvSpPr>
        <p:spPr bwMode="auto">
          <a:xfrm>
            <a:off x="301466" y="603012"/>
            <a:ext cx="275273" cy="32861"/>
          </a:xfrm>
          <a:custGeom>
            <a:avLst/>
            <a:gdLst>
              <a:gd name="T0" fmla="*/ 52 w 55"/>
              <a:gd name="T1" fmla="*/ 8 h 8"/>
              <a:gd name="T2" fmla="*/ 4 w 55"/>
              <a:gd name="T3" fmla="*/ 8 h 8"/>
              <a:gd name="T4" fmla="*/ 0 w 55"/>
              <a:gd name="T5" fmla="*/ 4 h 8"/>
              <a:gd name="T6" fmla="*/ 0 w 55"/>
              <a:gd name="T7" fmla="*/ 3 h 8"/>
              <a:gd name="T8" fmla="*/ 4 w 55"/>
              <a:gd name="T9" fmla="*/ 0 h 8"/>
              <a:gd name="T10" fmla="*/ 52 w 55"/>
              <a:gd name="T11" fmla="*/ 0 h 8"/>
              <a:gd name="T12" fmla="*/ 55 w 55"/>
              <a:gd name="T13" fmla="*/ 3 h 8"/>
              <a:gd name="T14" fmla="*/ 55 w 55"/>
              <a:gd name="T15" fmla="*/ 4 h 8"/>
              <a:gd name="T16" fmla="*/ 52 w 5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8">
                <a:moveTo>
                  <a:pt x="52" y="8"/>
                </a:moveTo>
                <a:cubicBezTo>
                  <a:pt x="4" y="8"/>
                  <a:pt x="4" y="8"/>
                  <a:pt x="4" y="8"/>
                </a:cubicBezTo>
                <a:cubicBezTo>
                  <a:pt x="2" y="8"/>
                  <a:pt x="0" y="6"/>
                  <a:pt x="0" y="4"/>
                </a:cubicBezTo>
                <a:cubicBezTo>
                  <a:pt x="0" y="3"/>
                  <a:pt x="0" y="3"/>
                  <a:pt x="0" y="3"/>
                </a:cubicBezTo>
                <a:cubicBezTo>
                  <a:pt x="0" y="1"/>
                  <a:pt x="2" y="0"/>
                  <a:pt x="4" y="0"/>
                </a:cubicBezTo>
                <a:cubicBezTo>
                  <a:pt x="52" y="0"/>
                  <a:pt x="52" y="0"/>
                  <a:pt x="52" y="0"/>
                </a:cubicBezTo>
                <a:cubicBezTo>
                  <a:pt x="54" y="0"/>
                  <a:pt x="55" y="1"/>
                  <a:pt x="55" y="3"/>
                </a:cubicBezTo>
                <a:cubicBezTo>
                  <a:pt x="55" y="4"/>
                  <a:pt x="55" y="4"/>
                  <a:pt x="55" y="4"/>
                </a:cubicBezTo>
                <a:cubicBezTo>
                  <a:pt x="55" y="6"/>
                  <a:pt x="54" y="8"/>
                  <a:pt x="52"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21" name="Freeform 17"/>
          <p:cNvSpPr/>
          <p:nvPr userDrawn="1">
            <p:custDataLst>
              <p:tags r:id="rId17"/>
            </p:custDataLst>
          </p:nvPr>
        </p:nvSpPr>
        <p:spPr bwMode="auto">
          <a:xfrm>
            <a:off x="301466" y="730647"/>
            <a:ext cx="275273" cy="32861"/>
          </a:xfrm>
          <a:custGeom>
            <a:avLst/>
            <a:gdLst>
              <a:gd name="T0" fmla="*/ 52 w 55"/>
              <a:gd name="T1" fmla="*/ 7 h 7"/>
              <a:gd name="T2" fmla="*/ 4 w 55"/>
              <a:gd name="T3" fmla="*/ 7 h 7"/>
              <a:gd name="T4" fmla="*/ 0 w 55"/>
              <a:gd name="T5" fmla="*/ 4 h 7"/>
              <a:gd name="T6" fmla="*/ 0 w 55"/>
              <a:gd name="T7" fmla="*/ 3 h 7"/>
              <a:gd name="T8" fmla="*/ 4 w 55"/>
              <a:gd name="T9" fmla="*/ 0 h 7"/>
              <a:gd name="T10" fmla="*/ 52 w 55"/>
              <a:gd name="T11" fmla="*/ 0 h 7"/>
              <a:gd name="T12" fmla="*/ 55 w 55"/>
              <a:gd name="T13" fmla="*/ 3 h 7"/>
              <a:gd name="T14" fmla="*/ 55 w 55"/>
              <a:gd name="T15" fmla="*/ 4 h 7"/>
              <a:gd name="T16" fmla="*/ 52 w 5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7">
                <a:moveTo>
                  <a:pt x="52" y="7"/>
                </a:moveTo>
                <a:cubicBezTo>
                  <a:pt x="4" y="7"/>
                  <a:pt x="4" y="7"/>
                  <a:pt x="4" y="7"/>
                </a:cubicBezTo>
                <a:cubicBezTo>
                  <a:pt x="2" y="7"/>
                  <a:pt x="0" y="6"/>
                  <a:pt x="0" y="4"/>
                </a:cubicBezTo>
                <a:cubicBezTo>
                  <a:pt x="0" y="3"/>
                  <a:pt x="0" y="3"/>
                  <a:pt x="0" y="3"/>
                </a:cubicBezTo>
                <a:cubicBezTo>
                  <a:pt x="0" y="1"/>
                  <a:pt x="2" y="0"/>
                  <a:pt x="4" y="0"/>
                </a:cubicBezTo>
                <a:cubicBezTo>
                  <a:pt x="52" y="0"/>
                  <a:pt x="52" y="0"/>
                  <a:pt x="52" y="0"/>
                </a:cubicBezTo>
                <a:cubicBezTo>
                  <a:pt x="54" y="0"/>
                  <a:pt x="55" y="1"/>
                  <a:pt x="55" y="3"/>
                </a:cubicBezTo>
                <a:cubicBezTo>
                  <a:pt x="55" y="4"/>
                  <a:pt x="55" y="4"/>
                  <a:pt x="55" y="4"/>
                </a:cubicBezTo>
                <a:cubicBezTo>
                  <a:pt x="55" y="6"/>
                  <a:pt x="54" y="7"/>
                  <a:pt x="52" y="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521970" y="450000"/>
            <a:ext cx="8100000" cy="540000"/>
          </a:xfrm>
        </p:spPr>
        <p:txBody>
          <a:bodyPr wrap="square">
            <a:normAutofit/>
          </a:bodyPr>
          <a:lstStyle/>
          <a:p>
            <a:r>
              <a:rPr lang="zh-CN" altLang="en-US" dirty="0"/>
              <a:t>单击此处编辑母版标题样式</a:t>
            </a:r>
            <a:endParaRPr lang="zh-CN" altLang="en-US" dirty="0"/>
          </a:p>
        </p:txBody>
      </p:sp>
      <p:sp>
        <p:nvSpPr>
          <p:cNvPr id="3" name="内容占位符 2"/>
          <p:cNvSpPr>
            <a:spLocks noGrp="1"/>
          </p:cNvSpPr>
          <p:nvPr>
            <p:ph idx="1"/>
            <p:custDataLst>
              <p:tags r:id="rId3"/>
            </p:custDataLst>
          </p:nvPr>
        </p:nvSpPr>
        <p:spPr>
          <a:xfrm>
            <a:off x="521970" y="1910952"/>
            <a:ext cx="8100000" cy="3655219"/>
          </a:xfrm>
        </p:spPr>
        <p:txBody>
          <a:bodyPr wrap="square">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4" name="日期占位符 3"/>
          <p:cNvSpPr>
            <a:spLocks noGrp="1"/>
          </p:cNvSpPr>
          <p:nvPr>
            <p:ph type="dt" sz="half" idx="10"/>
            <p:custDataLst>
              <p:tags r:id="rId4"/>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a:xfrm>
            <a:off x="3028950" y="6401991"/>
            <a:ext cx="3086100" cy="273844"/>
          </a:xfrm>
        </p:spPr>
        <p:txBody>
          <a:bodyPr/>
          <a:lstStyle/>
          <a:p>
            <a:endParaRPr lang="zh-CN" altLang="en-US"/>
          </a:p>
        </p:txBody>
      </p:sp>
      <p:sp>
        <p:nvSpPr>
          <p:cNvPr id="6" name="灯片编号占位符 5"/>
          <p:cNvSpPr>
            <a:spLocks noGrp="1"/>
          </p:cNvSpPr>
          <p:nvPr>
            <p:ph type="sldNum" sz="quarter" idx="12"/>
            <p:custDataLst>
              <p:tags r:id="rId6"/>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目录">
    <p:spTree>
      <p:nvGrpSpPr>
        <p:cNvPr id="1" name=""/>
        <p:cNvGrpSpPr/>
        <p:nvPr/>
      </p:nvGrpSpPr>
      <p:grpSpPr>
        <a:xfrm>
          <a:off x="0" y="0"/>
          <a:ext cx="0" cy="0"/>
          <a:chOff x="0" y="0"/>
          <a:chExt cx="0" cy="0"/>
        </a:xfrm>
      </p:grpSpPr>
      <p:pic>
        <p:nvPicPr>
          <p:cNvPr id="3" name="图片 2" descr="蓝色的灯光&#10;&#10;低可信度描述已自动生成"/>
          <p:cNvPicPr>
            <a:picLocks noChangeAspect="1"/>
          </p:cNvPicPr>
          <p:nvPr userDrawn="1">
            <p:custDataLst>
              <p:tags r:id="rId2"/>
            </p:custDataLst>
          </p:nvPr>
        </p:nvPicPr>
        <p:blipFill>
          <a:blip r:embed="rId3">
            <a:extLst>
              <a:ext uri="{28A0092B-C50C-407E-A947-70E740481C1C}">
                <a14:useLocalDpi xmlns:a14="http://schemas.microsoft.com/office/drawing/2010/main" val="0"/>
              </a:ext>
            </a:extLst>
          </a:blip>
          <a:stretch>
            <a:fillRect/>
          </a:stretch>
        </p:blipFill>
        <p:spPr>
          <a:xfrm flipH="1">
            <a:off x="0" y="0"/>
            <a:ext cx="9144000" cy="6858000"/>
          </a:xfrm>
          <a:prstGeom prst="rect">
            <a:avLst/>
          </a:prstGeom>
        </p:spPr>
      </p:pic>
      <p:sp>
        <p:nvSpPr>
          <p:cNvPr id="2" name="标题 1"/>
          <p:cNvSpPr>
            <a:spLocks noGrp="1"/>
          </p:cNvSpPr>
          <p:nvPr>
            <p:ph type="title" hasCustomPrompt="1"/>
            <p:custDataLst>
              <p:tags r:id="rId4"/>
            </p:custDataLst>
          </p:nvPr>
        </p:nvSpPr>
        <p:spPr>
          <a:xfrm>
            <a:off x="4819650" y="687636"/>
            <a:ext cx="2160000" cy="810816"/>
          </a:xfrm>
        </p:spPr>
        <p:txBody>
          <a:bodyPr wrap="square" anchor="b">
            <a:normAutofit/>
          </a:bodyPr>
          <a:lstStyle>
            <a:lvl1pPr algn="ctr">
              <a:defRPr sz="4500">
                <a:gradFill>
                  <a:gsLst>
                    <a:gs pos="15000">
                      <a:schemeClr val="accent1">
                        <a:lumMod val="90000"/>
                        <a:lumOff val="10000"/>
                      </a:schemeClr>
                    </a:gs>
                    <a:gs pos="100000">
                      <a:schemeClr val="accent2"/>
                    </a:gs>
                  </a:gsLst>
                  <a:lin ang="2700000" scaled="1"/>
                </a:gradFill>
              </a:defRPr>
            </a:lvl1pPr>
          </a:lstStyle>
          <a:p>
            <a:r>
              <a:rPr lang="zh-CN" altLang="en-US" dirty="0"/>
              <a:t>标题</a:t>
            </a:r>
            <a:endParaRPr lang="zh-CN" altLang="en-US" dirty="0"/>
          </a:p>
        </p:txBody>
      </p:sp>
      <p:sp>
        <p:nvSpPr>
          <p:cNvPr id="7" name="日期占位符 3"/>
          <p:cNvSpPr>
            <a:spLocks noGrp="1"/>
          </p:cNvSpPr>
          <p:nvPr>
            <p:ph type="dt" sz="half" idx="10"/>
            <p:custDataLst>
              <p:tags r:id="rId5"/>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8" name="页脚占位符 4"/>
          <p:cNvSpPr>
            <a:spLocks noGrp="1"/>
          </p:cNvSpPr>
          <p:nvPr>
            <p:ph type="ftr" sz="quarter" idx="11"/>
            <p:custDataLst>
              <p:tags r:id="rId6"/>
            </p:custDataLst>
          </p:nvPr>
        </p:nvSpPr>
        <p:spPr>
          <a:xfrm>
            <a:off x="3028950" y="6401991"/>
            <a:ext cx="3086100" cy="273844"/>
          </a:xfrm>
        </p:spPr>
        <p:txBody>
          <a:bodyPr/>
          <a:lstStyle/>
          <a:p>
            <a:endParaRPr lang="zh-CN" altLang="en-US"/>
          </a:p>
        </p:txBody>
      </p:sp>
      <p:sp>
        <p:nvSpPr>
          <p:cNvPr id="9" name="灯片编号占位符 5"/>
          <p:cNvSpPr>
            <a:spLocks noGrp="1"/>
          </p:cNvSpPr>
          <p:nvPr>
            <p:ph type="sldNum" sz="quarter" idx="12"/>
            <p:custDataLst>
              <p:tags r:id="rId7"/>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节标题">
    <p:spTree>
      <p:nvGrpSpPr>
        <p:cNvPr id="1" name=""/>
        <p:cNvGrpSpPr/>
        <p:nvPr/>
      </p:nvGrpSpPr>
      <p:grpSpPr>
        <a:xfrm>
          <a:off x="0" y="0"/>
          <a:ext cx="0" cy="0"/>
          <a:chOff x="0" y="0"/>
          <a:chExt cx="0" cy="0"/>
        </a:xfrm>
      </p:grpSpPr>
      <p:pic>
        <p:nvPicPr>
          <p:cNvPr id="7" name="图片 6" descr="电子设备的屏幕&#10;&#10;低可信度描述已自动生成"/>
          <p:cNvPicPr preferRelativeResize="0"/>
          <p:nvPr userDrawn="1">
            <p:custDataLst>
              <p:tags r:id="rId2"/>
            </p:custDataLst>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矩形 8"/>
          <p:cNvSpPr/>
          <p:nvPr userDrawn="1">
            <p:custDataLst>
              <p:tags r:id="rId4"/>
            </p:custDataLst>
          </p:nvPr>
        </p:nvSpPr>
        <p:spPr>
          <a:xfrm>
            <a:off x="1128993" y="0"/>
            <a:ext cx="8015007" cy="6858000"/>
          </a:xfrm>
          <a:prstGeom prst="rect">
            <a:avLst/>
          </a:prstGeom>
          <a:gradFill flip="none" rotWithShape="1">
            <a:gsLst>
              <a:gs pos="35000">
                <a:srgbClr val="001548">
                  <a:alpha val="80000"/>
                </a:srgbClr>
              </a:gs>
              <a:gs pos="100000">
                <a:srgbClr val="001548">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 name="标题 1"/>
          <p:cNvSpPr>
            <a:spLocks noGrp="1"/>
          </p:cNvSpPr>
          <p:nvPr>
            <p:ph type="title" hasCustomPrompt="1"/>
            <p:custDataLst>
              <p:tags r:id="rId5"/>
            </p:custDataLst>
          </p:nvPr>
        </p:nvSpPr>
        <p:spPr>
          <a:xfrm>
            <a:off x="5038725" y="3164836"/>
            <a:ext cx="3800475" cy="1380728"/>
          </a:xfrm>
        </p:spPr>
        <p:txBody>
          <a:bodyPr wrap="square" anchor="t">
            <a:normAutofit/>
          </a:bodyPr>
          <a:lstStyle>
            <a:lvl1pPr algn="l">
              <a:defRPr sz="4500">
                <a:gradFill>
                  <a:gsLst>
                    <a:gs pos="15000">
                      <a:schemeClr val="accent1">
                        <a:lumMod val="90000"/>
                        <a:lumOff val="10000"/>
                      </a:schemeClr>
                    </a:gs>
                    <a:gs pos="100000">
                      <a:schemeClr val="accent2"/>
                    </a:gs>
                  </a:gsLst>
                  <a:lin ang="2700000" scaled="1"/>
                </a:gradFill>
              </a:defRPr>
            </a:lvl1pPr>
          </a:lstStyle>
          <a:p>
            <a:r>
              <a:rPr lang="zh-CN" altLang="en-US" dirty="0"/>
              <a:t>单击编辑母版标题</a:t>
            </a:r>
            <a:endParaRPr lang="zh-CN" altLang="en-US" dirty="0"/>
          </a:p>
        </p:txBody>
      </p:sp>
      <p:sp>
        <p:nvSpPr>
          <p:cNvPr id="3" name="文本占位符 2"/>
          <p:cNvSpPr>
            <a:spLocks noGrp="1"/>
          </p:cNvSpPr>
          <p:nvPr>
            <p:ph type="body" idx="1" hasCustomPrompt="1"/>
            <p:custDataLst>
              <p:tags r:id="rId6"/>
            </p:custDataLst>
          </p:nvPr>
        </p:nvSpPr>
        <p:spPr>
          <a:xfrm>
            <a:off x="5038725" y="1761150"/>
            <a:ext cx="3800475" cy="987983"/>
          </a:xfrm>
        </p:spPr>
        <p:txBody>
          <a:bodyPr wrap="square" anchor="b">
            <a:normAutofit/>
          </a:bodyPr>
          <a:lstStyle>
            <a:lvl1pPr marL="0" indent="0" algn="l">
              <a:buNone/>
              <a:defRPr sz="2400" b="1">
                <a:ln>
                  <a:gradFill>
                    <a:gsLst>
                      <a:gs pos="0">
                        <a:schemeClr val="accent1">
                          <a:lumMod val="90000"/>
                          <a:lumOff val="10000"/>
                        </a:schemeClr>
                      </a:gs>
                      <a:gs pos="100000">
                        <a:schemeClr val="accent1">
                          <a:alpha val="100000"/>
                          <a:lumMod val="90000"/>
                          <a:lumOff val="10000"/>
                        </a:schemeClr>
                      </a:gs>
                    </a:gsLst>
                    <a:lin ang="5400000" scaled="1"/>
                  </a:gradFill>
                </a:ln>
                <a:no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a:t>单击此处编辑副标题</a:t>
            </a:r>
            <a:endParaRPr lang="zh-CN" altLang="en-US" dirty="0"/>
          </a:p>
        </p:txBody>
      </p:sp>
      <p:sp>
        <p:nvSpPr>
          <p:cNvPr id="8" name="节编号 3"/>
          <p:cNvSpPr>
            <a:spLocks noGrp="1"/>
          </p:cNvSpPr>
          <p:nvPr>
            <p:ph type="body" sz="quarter" idx="13" hasCustomPrompt="1"/>
            <p:custDataLst>
              <p:tags r:id="rId7"/>
            </p:custDataLst>
          </p:nvPr>
        </p:nvSpPr>
        <p:spPr>
          <a:xfrm>
            <a:off x="5038725" y="4942230"/>
            <a:ext cx="1645444" cy="333083"/>
          </a:xfrm>
          <a:prstGeom prst="roundRect">
            <a:avLst>
              <a:gd name="adj" fmla="val 50000"/>
            </a:avLst>
          </a:prstGeom>
          <a:gradFill>
            <a:gsLst>
              <a:gs pos="0">
                <a:schemeClr val="accent1">
                  <a:lumMod val="90000"/>
                  <a:lumOff val="10000"/>
                </a:schemeClr>
              </a:gs>
              <a:gs pos="100000">
                <a:schemeClr val="accent1">
                  <a:lumMod val="90000"/>
                  <a:lumOff val="10000"/>
                </a:schemeClr>
              </a:gs>
            </a:gsLst>
            <a:lin ang="5400000" scaled="0"/>
          </a:gradFill>
        </p:spPr>
        <p:txBody>
          <a:bodyPr wrap="none" anchor="ctr">
            <a:normAutofit/>
          </a:bodyPr>
          <a:lstStyle>
            <a:lvl1pPr marL="0" indent="0" algn="ctr">
              <a:buNone/>
              <a:defRPr sz="1500" b="1">
                <a:solidFill>
                  <a:schemeClr val="bg2"/>
                </a:solidFill>
              </a:defRPr>
            </a:lvl1pPr>
          </a:lstStyle>
          <a:p>
            <a:pPr lvl="0"/>
            <a:r>
              <a:rPr lang="zh-CN" altLang="en-US" dirty="0"/>
              <a:t>节编号</a:t>
            </a:r>
            <a:endParaRPr lang="zh-CN" altLang="en-US" dirty="0"/>
          </a:p>
        </p:txBody>
      </p:sp>
      <p:sp>
        <p:nvSpPr>
          <p:cNvPr id="4" name="日期占位符 4"/>
          <p:cNvSpPr>
            <a:spLocks noGrp="1"/>
          </p:cNvSpPr>
          <p:nvPr>
            <p:ph type="dt" sz="half" idx="10"/>
            <p:custDataLst>
              <p:tags r:id="rId8"/>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5" name="页脚占位符 5"/>
          <p:cNvSpPr>
            <a:spLocks noGrp="1"/>
          </p:cNvSpPr>
          <p:nvPr>
            <p:ph type="ftr" sz="quarter" idx="11"/>
            <p:custDataLst>
              <p:tags r:id="rId9"/>
            </p:custDataLst>
          </p:nvPr>
        </p:nvSpPr>
        <p:spPr>
          <a:xfrm>
            <a:off x="3028950" y="6401991"/>
            <a:ext cx="3086100" cy="273844"/>
          </a:xfrm>
        </p:spPr>
        <p:txBody>
          <a:bodyPr/>
          <a:lstStyle/>
          <a:p>
            <a:endParaRPr lang="zh-CN" altLang="en-US"/>
          </a:p>
        </p:txBody>
      </p:sp>
      <p:sp>
        <p:nvSpPr>
          <p:cNvPr id="6" name="灯片编号占位符 6"/>
          <p:cNvSpPr>
            <a:spLocks noGrp="1"/>
          </p:cNvSpPr>
          <p:nvPr>
            <p:ph type="sldNum" sz="quarter" idx="12"/>
            <p:custDataLst>
              <p:tags r:id="rId10"/>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
        <p:nvSpPr>
          <p:cNvPr id="11" name="AutoShape 3"/>
          <p:cNvSpPr>
            <a:spLocks noChangeAspect="1" noChangeArrowheads="1" noTextEdit="1"/>
          </p:cNvSpPr>
          <p:nvPr>
            <p:custDataLst>
              <p:tags r:id="rId11"/>
            </p:custDataLst>
          </p:nvPr>
        </p:nvSpPr>
        <p:spPr bwMode="auto">
          <a:xfrm>
            <a:off x="236864" y="2605573"/>
            <a:ext cx="35789" cy="174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zh-CN" altLang="en-US" sz="1350"/>
          </a:p>
        </p:txBody>
      </p:sp>
      <p:sp>
        <p:nvSpPr>
          <p:cNvPr id="12" name="Freeform 5"/>
          <p:cNvSpPr/>
          <p:nvPr>
            <p:custDataLst>
              <p:tags r:id="rId12"/>
            </p:custDataLst>
          </p:nvPr>
        </p:nvSpPr>
        <p:spPr bwMode="auto">
          <a:xfrm>
            <a:off x="231984" y="2365631"/>
            <a:ext cx="34162" cy="333479"/>
          </a:xfrm>
          <a:custGeom>
            <a:avLst/>
            <a:gdLst>
              <a:gd name="T0" fmla="*/ 0 w 6"/>
              <a:gd name="T1" fmla="*/ 83 h 86"/>
              <a:gd name="T2" fmla="*/ 0 w 6"/>
              <a:gd name="T3" fmla="*/ 3 h 86"/>
              <a:gd name="T4" fmla="*/ 3 w 6"/>
              <a:gd name="T5" fmla="*/ 0 h 86"/>
              <a:gd name="T6" fmla="*/ 6 w 6"/>
              <a:gd name="T7" fmla="*/ 3 h 86"/>
              <a:gd name="T8" fmla="*/ 6 w 6"/>
              <a:gd name="T9" fmla="*/ 83 h 86"/>
              <a:gd name="T10" fmla="*/ 3 w 6"/>
              <a:gd name="T11" fmla="*/ 86 h 86"/>
              <a:gd name="T12" fmla="*/ 0 w 6"/>
              <a:gd name="T13" fmla="*/ 83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0" y="83"/>
                </a:moveTo>
                <a:cubicBezTo>
                  <a:pt x="0" y="3"/>
                  <a:pt x="0" y="3"/>
                  <a:pt x="0" y="3"/>
                </a:cubicBezTo>
                <a:cubicBezTo>
                  <a:pt x="0" y="2"/>
                  <a:pt x="1" y="0"/>
                  <a:pt x="3" y="0"/>
                </a:cubicBezTo>
                <a:cubicBezTo>
                  <a:pt x="5" y="0"/>
                  <a:pt x="6" y="2"/>
                  <a:pt x="6" y="3"/>
                </a:cubicBezTo>
                <a:cubicBezTo>
                  <a:pt x="6" y="83"/>
                  <a:pt x="6" y="83"/>
                  <a:pt x="6" y="83"/>
                </a:cubicBezTo>
                <a:cubicBezTo>
                  <a:pt x="6" y="85"/>
                  <a:pt x="5" y="86"/>
                  <a:pt x="3" y="86"/>
                </a:cubicBezTo>
                <a:cubicBezTo>
                  <a:pt x="1" y="86"/>
                  <a:pt x="0" y="85"/>
                  <a:pt x="0" y="83"/>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13" name="Freeform 6"/>
          <p:cNvSpPr/>
          <p:nvPr>
            <p:custDataLst>
              <p:tags r:id="rId13"/>
            </p:custDataLst>
          </p:nvPr>
        </p:nvSpPr>
        <p:spPr bwMode="auto">
          <a:xfrm>
            <a:off x="231984" y="300059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4" name="Freeform 7"/>
          <p:cNvSpPr/>
          <p:nvPr>
            <p:custDataLst>
              <p:tags r:id="rId14"/>
            </p:custDataLst>
          </p:nvPr>
        </p:nvSpPr>
        <p:spPr bwMode="auto">
          <a:xfrm>
            <a:off x="231984" y="363176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5" name="Freeform 8"/>
          <p:cNvSpPr/>
          <p:nvPr>
            <p:custDataLst>
              <p:tags r:id="rId15"/>
            </p:custDataLst>
          </p:nvPr>
        </p:nvSpPr>
        <p:spPr bwMode="auto">
          <a:xfrm>
            <a:off x="231984" y="426293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lvl1pPr>
              <a:defRPr>
                <a:ea typeface="+mn-ea"/>
              </a:defRPr>
            </a:lvl1pPr>
            <a:lvl2pPr>
              <a:defRPr>
                <a:ea typeface="+mn-ea"/>
              </a:defRPr>
            </a:lvl2pPr>
            <a:lvl3pPr>
              <a:defRPr>
                <a:ea typeface="+mn-ea"/>
              </a:defRPr>
            </a:lvl3pPr>
            <a:lvl4pPr>
              <a:defRPr>
                <a:ea typeface="+mn-ea"/>
              </a:defRPr>
            </a:lvl4pPr>
            <a:lvl5pPr>
              <a:defRPr>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521970" y="450000"/>
            <a:ext cx="8100000" cy="540000"/>
          </a:xfrm>
        </p:spPr>
        <p:txBody>
          <a:bodyPr vert="horz" wrap="square" lIns="0" tIns="0" rIns="0" bIns="0" rtlCol="0" anchor="b">
            <a:normAutofit/>
          </a:bodyPr>
          <a:lstStyle>
            <a:lvl1pPr>
              <a:defRPr lang="zh-CN" altLang="en-US" dirty="0"/>
            </a:lvl1pPr>
          </a:lstStyle>
          <a:p>
            <a:pPr lvl="0"/>
            <a:r>
              <a:rPr lang="zh-CN" altLang="en-US" dirty="0"/>
              <a:t>单击此处编辑母版标题样式</a:t>
            </a:r>
            <a:endParaRPr lang="zh-CN" altLang="en-US" dirty="0"/>
          </a:p>
        </p:txBody>
      </p:sp>
      <p:sp>
        <p:nvSpPr>
          <p:cNvPr id="3" name="内容占位符 2"/>
          <p:cNvSpPr>
            <a:spLocks noGrp="1"/>
          </p:cNvSpPr>
          <p:nvPr>
            <p:ph sz="half" idx="1"/>
            <p:custDataLst>
              <p:tags r:id="rId3"/>
            </p:custDataLst>
          </p:nvPr>
        </p:nvSpPr>
        <p:spPr>
          <a:xfrm>
            <a:off x="521970" y="1911231"/>
            <a:ext cx="3992880" cy="3656888"/>
          </a:xfrm>
        </p:spPr>
        <p:txBody>
          <a:bodyPr wrap="square">
            <a:normAutofit/>
          </a:bodyPr>
          <a:lstStyle/>
          <a:p>
            <a:pPr lvl="0"/>
            <a:r>
              <a:rPr lang="zh-CN" altLang="en-US" dirty="0"/>
              <a:t>单击此处编辑母版文本样式</a:t>
            </a:r>
            <a:endParaRPr lang="zh-CN" altLang="en-US" dirty="0"/>
          </a:p>
          <a:p>
            <a:pPr lvl="1"/>
            <a:r>
              <a:rPr lang="zh-CN" altLang="en-US" dirty="0">
                <a:sym typeface="+mn-ea"/>
              </a:rPr>
              <a:t>第</a:t>
            </a:r>
            <a:r>
              <a:rPr lang="zh-CN" altLang="en-US" dirty="0"/>
              <a:t>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4" name="内容占位符 3"/>
          <p:cNvSpPr>
            <a:spLocks noGrp="1"/>
          </p:cNvSpPr>
          <p:nvPr>
            <p:ph sz="half" idx="2"/>
            <p:custDataLst>
              <p:tags r:id="rId4"/>
            </p:custDataLst>
          </p:nvPr>
        </p:nvSpPr>
        <p:spPr>
          <a:xfrm>
            <a:off x="4629150" y="1911231"/>
            <a:ext cx="3992880" cy="3656888"/>
          </a:xfrm>
        </p:spPr>
        <p:txBody>
          <a:bodyPr wrap="square">
            <a:normAutofit/>
          </a:bodyPr>
          <a:lstStyle/>
          <a:p>
            <a:pPr lvl="0"/>
            <a:r>
              <a:rPr lang="zh-CN" altLang="en-US" dirty="0"/>
              <a:t>单击此处编辑母版文本样式</a:t>
            </a:r>
            <a:endParaRPr lang="zh-CN" altLang="en-US" dirty="0"/>
          </a:p>
          <a:p>
            <a:pPr lvl="1"/>
            <a:r>
              <a:rPr lang="zh-CN" altLang="en-US" dirty="0">
                <a:sym typeface="+mn-ea"/>
              </a:rPr>
              <a:t>第</a:t>
            </a:r>
            <a:r>
              <a:rPr lang="zh-CN" altLang="en-US" dirty="0"/>
              <a:t>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5" name="日期占位符 4"/>
          <p:cNvSpPr>
            <a:spLocks noGrp="1"/>
          </p:cNvSpPr>
          <p:nvPr>
            <p:ph type="dt" sz="half" idx="10"/>
            <p:custDataLst>
              <p:tags r:id="rId5"/>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a:xfrm>
            <a:off x="3028950" y="6401991"/>
            <a:ext cx="3086100" cy="273844"/>
          </a:xfrm>
        </p:spPr>
        <p:txBody>
          <a:bodyPr/>
          <a:lstStyle/>
          <a:p>
            <a:endParaRPr lang="zh-CN" altLang="en-US"/>
          </a:p>
        </p:txBody>
      </p:sp>
      <p:sp>
        <p:nvSpPr>
          <p:cNvPr id="7" name="灯片编号占位符 6"/>
          <p:cNvSpPr>
            <a:spLocks noGrp="1"/>
          </p:cNvSpPr>
          <p:nvPr>
            <p:ph type="sldNum" sz="quarter" idx="12"/>
            <p:custDataLst>
              <p:tags r:id="rId7"/>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hasCustomPrompt="1"/>
            <p:custDataLst>
              <p:tags r:id="rId2"/>
            </p:custDataLst>
          </p:nvPr>
        </p:nvSpPr>
        <p:spPr>
          <a:xfrm>
            <a:off x="521970" y="1911033"/>
            <a:ext cx="3992880" cy="308477"/>
          </a:xfrm>
        </p:spPr>
        <p:txBody>
          <a:bodyPr wrap="square" anchor="b">
            <a:norm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母版标题样式</a:t>
            </a:r>
            <a:endParaRPr lang="zh-CN" altLang="en-US" dirty="0"/>
          </a:p>
        </p:txBody>
      </p:sp>
      <p:sp>
        <p:nvSpPr>
          <p:cNvPr id="4" name="内容占位符 3"/>
          <p:cNvSpPr>
            <a:spLocks noGrp="1"/>
          </p:cNvSpPr>
          <p:nvPr>
            <p:ph sz="half" idx="2"/>
            <p:custDataLst>
              <p:tags r:id="rId3"/>
            </p:custDataLst>
          </p:nvPr>
        </p:nvSpPr>
        <p:spPr>
          <a:xfrm>
            <a:off x="521970" y="2341044"/>
            <a:ext cx="3992880" cy="3225207"/>
          </a:xfrm>
        </p:spPr>
        <p:txBody>
          <a:bodyPr wrap="square">
            <a:normAutofit/>
          </a:bodyPr>
          <a:lstStyle>
            <a:lvl1pPr>
              <a:defRPr sz="1650"/>
            </a:lvl1pPr>
          </a:lstStyle>
          <a:p>
            <a:pPr lvl="0"/>
            <a:r>
              <a:rPr lang="zh-CN" altLang="en-US" dirty="0"/>
              <a:t>单击此处编辑母版文本样式</a:t>
            </a:r>
            <a:endParaRPr lang="zh-CN" altLang="en-US" dirty="0"/>
          </a:p>
          <a:p>
            <a:pPr lvl="1"/>
            <a:r>
              <a:rPr lang="zh-CN" altLang="en-US" dirty="0">
                <a:sym typeface="+mn-ea"/>
              </a:rPr>
              <a:t>第</a:t>
            </a:r>
            <a:r>
              <a:rPr lang="zh-CN" altLang="en-US" dirty="0"/>
              <a:t>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5" name="文本占位符 4"/>
          <p:cNvSpPr>
            <a:spLocks noGrp="1"/>
          </p:cNvSpPr>
          <p:nvPr>
            <p:ph type="body" sz="quarter" idx="3" hasCustomPrompt="1"/>
            <p:custDataLst>
              <p:tags r:id="rId4"/>
            </p:custDataLst>
          </p:nvPr>
        </p:nvSpPr>
        <p:spPr>
          <a:xfrm>
            <a:off x="4629150" y="1911033"/>
            <a:ext cx="3992880" cy="308477"/>
          </a:xfrm>
        </p:spPr>
        <p:txBody>
          <a:bodyPr wrap="square" anchor="b">
            <a:norm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母版标题样式</a:t>
            </a:r>
            <a:endParaRPr lang="zh-CN" altLang="en-US" dirty="0"/>
          </a:p>
        </p:txBody>
      </p:sp>
      <p:sp>
        <p:nvSpPr>
          <p:cNvPr id="6" name="内容占位符 5"/>
          <p:cNvSpPr>
            <a:spLocks noGrp="1"/>
          </p:cNvSpPr>
          <p:nvPr>
            <p:ph sz="quarter" idx="4"/>
            <p:custDataLst>
              <p:tags r:id="rId5"/>
            </p:custDataLst>
          </p:nvPr>
        </p:nvSpPr>
        <p:spPr>
          <a:xfrm>
            <a:off x="4629150" y="2341044"/>
            <a:ext cx="3992880" cy="3225207"/>
          </a:xfrm>
        </p:spPr>
        <p:txBody>
          <a:bodyPr wrap="square">
            <a:normAutofit/>
          </a:bodyPr>
          <a:lstStyle>
            <a:lvl1pPr>
              <a:defRPr sz="1650"/>
            </a:lvl1pPr>
          </a:lstStyle>
          <a:p>
            <a:pPr lvl="0"/>
            <a:r>
              <a:rPr lang="zh-CN" altLang="en-US" dirty="0"/>
              <a:t>单击此处编辑母版文本样式</a:t>
            </a:r>
            <a:endParaRPr lang="zh-CN" altLang="en-US" dirty="0"/>
          </a:p>
          <a:p>
            <a:pPr lvl="1"/>
            <a:r>
              <a:rPr lang="zh-CN" altLang="en-US" dirty="0">
                <a:sym typeface="+mn-ea"/>
              </a:rPr>
              <a:t>第</a:t>
            </a:r>
            <a:r>
              <a:rPr lang="zh-CN" altLang="en-US" dirty="0"/>
              <a:t>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7" name="日期占位符 6"/>
          <p:cNvSpPr>
            <a:spLocks noGrp="1"/>
          </p:cNvSpPr>
          <p:nvPr>
            <p:ph type="dt" sz="half" idx="10"/>
            <p:custDataLst>
              <p:tags r:id="rId6"/>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8" name="页脚占位符 7"/>
          <p:cNvSpPr>
            <a:spLocks noGrp="1"/>
          </p:cNvSpPr>
          <p:nvPr>
            <p:ph type="ftr" sz="quarter" idx="11"/>
            <p:custDataLst>
              <p:tags r:id="rId7"/>
            </p:custDataLst>
          </p:nvPr>
        </p:nvSpPr>
        <p:spPr>
          <a:xfrm>
            <a:off x="3028950" y="6401991"/>
            <a:ext cx="3086100" cy="273844"/>
          </a:xfrm>
        </p:spPr>
        <p:txBody>
          <a:bodyPr/>
          <a:lstStyle/>
          <a:p>
            <a:endParaRPr lang="zh-CN" altLang="en-US"/>
          </a:p>
        </p:txBody>
      </p:sp>
      <p:sp>
        <p:nvSpPr>
          <p:cNvPr id="9" name="灯片编号占位符 8"/>
          <p:cNvSpPr>
            <a:spLocks noGrp="1"/>
          </p:cNvSpPr>
          <p:nvPr>
            <p:ph type="sldNum" sz="quarter" idx="12"/>
            <p:custDataLst>
              <p:tags r:id="rId8"/>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
        <p:nvSpPr>
          <p:cNvPr id="10" name="标题 9"/>
          <p:cNvSpPr>
            <a:spLocks noGrp="1"/>
          </p:cNvSpPr>
          <p:nvPr>
            <p:ph type="title"/>
            <p:custDataLst>
              <p:tags r:id="rId9"/>
            </p:custDataLst>
          </p:nvPr>
        </p:nvSpPr>
        <p:spPr>
          <a:xfrm>
            <a:off x="521970" y="450000"/>
            <a:ext cx="8100000" cy="540000"/>
          </a:xfrm>
        </p:spPr>
        <p:txBody>
          <a:bodyPr/>
          <a:lstStyle/>
          <a:p>
            <a:r>
              <a:rPr lang="zh-CN" altLang="en-US"/>
              <a:t>单击此处编辑母版标题样式</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521970" y="450000"/>
            <a:ext cx="8100000" cy="540000"/>
          </a:xfrm>
        </p:spPr>
        <p:txBody>
          <a:bodyPr wrap="square">
            <a:normAutofit/>
          </a:body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3028950" y="6401991"/>
            <a:ext cx="3086100" cy="273844"/>
          </a:xfrm>
        </p:spPr>
        <p:txBody>
          <a:bodyPr/>
          <a:lstStyle/>
          <a:p>
            <a:endParaRPr lang="zh-CN" altLang="en-US"/>
          </a:p>
        </p:txBody>
      </p:sp>
      <p:sp>
        <p:nvSpPr>
          <p:cNvPr id="5" name="灯片编号占位符 4"/>
          <p:cNvSpPr>
            <a:spLocks noGrp="1"/>
          </p:cNvSpPr>
          <p:nvPr>
            <p:ph type="sldNum" sz="quarter" idx="12"/>
            <p:custDataLst>
              <p:tags r:id="rId5"/>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dirty="0"/>
          </a:p>
        </p:txBody>
      </p:sp>
      <p:sp>
        <p:nvSpPr>
          <p:cNvPr id="3" name="页脚占位符 2"/>
          <p:cNvSpPr>
            <a:spLocks noGrp="1"/>
          </p:cNvSpPr>
          <p:nvPr>
            <p:ph type="ftr" sz="quarter" idx="11"/>
            <p:custDataLst>
              <p:tags r:id="rId3"/>
            </p:custDataLst>
          </p:nvPr>
        </p:nvSpPr>
        <p:spPr>
          <a:xfrm>
            <a:off x="3028950" y="6401991"/>
            <a:ext cx="3086100" cy="273844"/>
          </a:xfrm>
        </p:spPr>
        <p:txBody>
          <a:bodyPr/>
          <a:lstStyle/>
          <a:p>
            <a:endParaRPr lang="zh-CN" altLang="en-US"/>
          </a:p>
        </p:txBody>
      </p:sp>
      <p:sp>
        <p:nvSpPr>
          <p:cNvPr id="4" name="灯片编号占位符 3"/>
          <p:cNvSpPr>
            <a:spLocks noGrp="1"/>
          </p:cNvSpPr>
          <p:nvPr>
            <p:ph type="sldNum" sz="quarter" idx="12"/>
            <p:custDataLst>
              <p:tags r:id="rId4"/>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仅内容">
    <p:spTree>
      <p:nvGrpSpPr>
        <p:cNvPr id="1" name=""/>
        <p:cNvGrpSpPr/>
        <p:nvPr/>
      </p:nvGrpSpPr>
      <p:grpSpPr>
        <a:xfrm>
          <a:off x="0" y="0"/>
          <a:ext cx="0" cy="0"/>
          <a:chOff x="0" y="0"/>
          <a:chExt cx="0" cy="0"/>
        </a:xfrm>
      </p:grpSpPr>
      <p:sp>
        <p:nvSpPr>
          <p:cNvPr id="3" name="内容占位符 1"/>
          <p:cNvSpPr>
            <a:spLocks noGrp="1"/>
          </p:cNvSpPr>
          <p:nvPr>
            <p:ph idx="1"/>
            <p:custDataLst>
              <p:tags r:id="rId2"/>
            </p:custDataLst>
          </p:nvPr>
        </p:nvSpPr>
        <p:spPr>
          <a:xfrm>
            <a:off x="521970" y="1087279"/>
            <a:ext cx="8101489" cy="4363403"/>
          </a:xfrm>
        </p:spPr>
        <p:txBody>
          <a:bodyPr wrap="square">
            <a:normAutofit/>
          </a:bodyPr>
          <a:lstStyle/>
          <a:p>
            <a:pPr lvl="0"/>
            <a:r>
              <a:rPr lang="zh-CN" altLang="en-US" dirty="0"/>
              <a:t>单击此处编辑母版文本样式</a:t>
            </a:r>
            <a:endParaRPr lang="zh-CN" altLang="en-US" dirty="0"/>
          </a:p>
          <a:p>
            <a:pPr lvl="1"/>
            <a:r>
              <a:rPr lang="zh-CN" altLang="en-US" dirty="0">
                <a:sym typeface="+mn-ea"/>
              </a:rPr>
              <a:t>第</a:t>
            </a:r>
            <a:r>
              <a:rPr lang="zh-CN" altLang="en-US" dirty="0"/>
              <a:t>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4" name="日期占位符 2"/>
          <p:cNvSpPr>
            <a:spLocks noGrp="1"/>
          </p:cNvSpPr>
          <p:nvPr>
            <p:ph type="dt" sz="half" idx="10"/>
            <p:custDataLst>
              <p:tags r:id="rId3"/>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5" name="页脚占位符 3"/>
          <p:cNvSpPr>
            <a:spLocks noGrp="1"/>
          </p:cNvSpPr>
          <p:nvPr>
            <p:ph type="ftr" sz="quarter" idx="11"/>
            <p:custDataLst>
              <p:tags r:id="rId4"/>
            </p:custDataLst>
          </p:nvPr>
        </p:nvSpPr>
        <p:spPr>
          <a:xfrm>
            <a:off x="3028950" y="6401991"/>
            <a:ext cx="3086100" cy="273844"/>
          </a:xfrm>
        </p:spPr>
        <p:txBody>
          <a:bodyPr/>
          <a:lstStyle/>
          <a:p>
            <a:endParaRPr lang="zh-CN" altLang="en-US"/>
          </a:p>
        </p:txBody>
      </p:sp>
      <p:sp>
        <p:nvSpPr>
          <p:cNvPr id="6" name="灯片编号占位符 4"/>
          <p:cNvSpPr>
            <a:spLocks noGrp="1"/>
          </p:cNvSpPr>
          <p:nvPr>
            <p:ph type="sldNum" sz="quarter" idx="12"/>
            <p:custDataLst>
              <p:tags r:id="rId5"/>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标题和副标题">
    <p:spTree>
      <p:nvGrpSpPr>
        <p:cNvPr id="1" name=""/>
        <p:cNvGrpSpPr/>
        <p:nvPr/>
      </p:nvGrpSpPr>
      <p:grpSpPr>
        <a:xfrm>
          <a:off x="0" y="0"/>
          <a:ext cx="0" cy="0"/>
          <a:chOff x="0" y="0"/>
          <a:chExt cx="0" cy="0"/>
        </a:xfrm>
      </p:grpSpPr>
      <p:sp>
        <p:nvSpPr>
          <p:cNvPr id="3" name="文本占位符 2"/>
          <p:cNvSpPr>
            <a:spLocks noGrp="1"/>
          </p:cNvSpPr>
          <p:nvPr>
            <p:ph type="body" idx="1" hasCustomPrompt="1"/>
            <p:custDataLst>
              <p:tags r:id="rId2"/>
            </p:custDataLst>
          </p:nvPr>
        </p:nvSpPr>
        <p:spPr>
          <a:xfrm>
            <a:off x="521970" y="1352444"/>
            <a:ext cx="8099316" cy="304165"/>
          </a:xfrm>
        </p:spPr>
        <p:txBody>
          <a:bodyPr wrap="square" anchor="t">
            <a:norm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zh-CN" altLang="en-US" dirty="0"/>
              <a:t>单击此处编辑副标题</a:t>
            </a:r>
            <a:endParaRPr lang="zh-CN" altLang="en-US" dirty="0"/>
          </a:p>
        </p:txBody>
      </p:sp>
      <p:sp>
        <p:nvSpPr>
          <p:cNvPr id="7" name="日期占位符 3"/>
          <p:cNvSpPr>
            <a:spLocks noGrp="1"/>
          </p:cNvSpPr>
          <p:nvPr>
            <p:ph type="dt" sz="half" idx="10"/>
            <p:custDataLst>
              <p:tags r:id="rId3"/>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8" name="页脚占位符 4"/>
          <p:cNvSpPr>
            <a:spLocks noGrp="1"/>
          </p:cNvSpPr>
          <p:nvPr>
            <p:ph type="ftr" sz="quarter" idx="11"/>
            <p:custDataLst>
              <p:tags r:id="rId4"/>
            </p:custDataLst>
          </p:nvPr>
        </p:nvSpPr>
        <p:spPr>
          <a:xfrm>
            <a:off x="3028950" y="6401991"/>
            <a:ext cx="3086100" cy="273844"/>
          </a:xfrm>
        </p:spPr>
        <p:txBody>
          <a:bodyPr/>
          <a:lstStyle/>
          <a:p>
            <a:endParaRPr lang="zh-CN" altLang="en-US"/>
          </a:p>
        </p:txBody>
      </p:sp>
      <p:sp>
        <p:nvSpPr>
          <p:cNvPr id="9" name="灯片编号占位符 5"/>
          <p:cNvSpPr>
            <a:spLocks noGrp="1"/>
          </p:cNvSpPr>
          <p:nvPr>
            <p:ph type="sldNum" sz="quarter" idx="12"/>
            <p:custDataLst>
              <p:tags r:id="rId5"/>
            </p:custDataLst>
          </p:nvPr>
        </p:nvSpPr>
        <p:spPr>
          <a:xfrm>
            <a:off x="6565487" y="6401991"/>
            <a:ext cx="2057400" cy="273844"/>
          </a:xfrm>
        </p:spPr>
        <p:txBody>
          <a:bodyPr wrap="square">
            <a:normAutofit/>
          </a:bodyPr>
          <a:lstStyle/>
          <a:p>
            <a:fld id="{BE5F26B5-172A-4DC2-B0B7-181CFC56B87C}" type="slidenum">
              <a:rPr lang="zh-CN" altLang="en-US" smtClean="0"/>
            </a:fld>
            <a:endParaRPr lang="zh-CN" altLang="en-US"/>
          </a:p>
        </p:txBody>
      </p:sp>
      <p:sp>
        <p:nvSpPr>
          <p:cNvPr id="4" name="标题 3"/>
          <p:cNvSpPr>
            <a:spLocks noGrp="1"/>
          </p:cNvSpPr>
          <p:nvPr>
            <p:ph type="title"/>
            <p:custDataLst>
              <p:tags r:id="rId6"/>
            </p:custDataLst>
          </p:nvPr>
        </p:nvSpPr>
        <p:spPr>
          <a:xfrm>
            <a:off x="521970" y="450000"/>
            <a:ext cx="8100000" cy="540000"/>
          </a:xfrm>
        </p:spPr>
        <p:txBody>
          <a:bodyPr/>
          <a:lstStyle/>
          <a:p>
            <a:r>
              <a:rPr lang="zh-CN" altLang="en-US"/>
              <a:t>单击此处编辑母版标题样式</a:t>
            </a:r>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pic>
        <p:nvPicPr>
          <p:cNvPr id="7" name="图片 6" descr="蓝色的灯光&#10;&#10;低可信度描述已自动生成"/>
          <p:cNvPicPr>
            <a:picLocks noChangeAspect="1"/>
          </p:cNvPicPr>
          <p:nvPr userDrawn="1">
            <p:custDataLst>
              <p:tags r:id="rId2"/>
            </p:custDataLst>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标题 1"/>
          <p:cNvSpPr>
            <a:spLocks noGrp="1"/>
          </p:cNvSpPr>
          <p:nvPr>
            <p:ph type="ctrTitle" hasCustomPrompt="1"/>
            <p:custDataLst>
              <p:tags r:id="rId4"/>
            </p:custDataLst>
          </p:nvPr>
        </p:nvSpPr>
        <p:spPr>
          <a:xfrm>
            <a:off x="825383" y="3218573"/>
            <a:ext cx="4601670" cy="1404438"/>
          </a:xfrm>
        </p:spPr>
        <p:txBody>
          <a:bodyPr wrap="square" anchor="t">
            <a:normAutofit/>
          </a:bodyPr>
          <a:lstStyle>
            <a:lvl1pPr algn="l">
              <a:lnSpc>
                <a:spcPct val="100000"/>
              </a:lnSpc>
              <a:defRPr sz="4950">
                <a:solidFill>
                  <a:srgbClr val="FFFFFF"/>
                </a:solidFill>
              </a:defRPr>
            </a:lvl1pPr>
          </a:lstStyle>
          <a:p>
            <a:r>
              <a:rPr lang="zh-CN" altLang="en-US" dirty="0"/>
              <a:t>编辑母版标题</a:t>
            </a:r>
            <a:endParaRPr lang="zh-CN" altLang="en-US" dirty="0"/>
          </a:p>
        </p:txBody>
      </p:sp>
      <p:sp>
        <p:nvSpPr>
          <p:cNvPr id="3" name="副标题 2"/>
          <p:cNvSpPr>
            <a:spLocks noGrp="1"/>
          </p:cNvSpPr>
          <p:nvPr>
            <p:ph type="subTitle" idx="1" hasCustomPrompt="1"/>
            <p:custDataLst>
              <p:tags r:id="rId5"/>
            </p:custDataLst>
          </p:nvPr>
        </p:nvSpPr>
        <p:spPr>
          <a:xfrm>
            <a:off x="825383" y="1656298"/>
            <a:ext cx="3567675" cy="1110678"/>
          </a:xfrm>
        </p:spPr>
        <p:txBody>
          <a:bodyPr wrap="square" anchor="b">
            <a:normAutofit/>
          </a:bodyPr>
          <a:lstStyle>
            <a:lvl1pPr marL="0" indent="0" algn="dist">
              <a:lnSpc>
                <a:spcPct val="100000"/>
              </a:lnSpc>
              <a:buNone/>
              <a:defRPr sz="2400" b="1">
                <a:ln>
                  <a:gradFill>
                    <a:gsLst>
                      <a:gs pos="0">
                        <a:schemeClr val="accent1">
                          <a:lumMod val="90000"/>
                          <a:lumOff val="10000"/>
                        </a:schemeClr>
                      </a:gs>
                      <a:gs pos="100000">
                        <a:schemeClr val="accent1">
                          <a:alpha val="100000"/>
                          <a:lumMod val="90000"/>
                          <a:lumOff val="10000"/>
                        </a:schemeClr>
                      </a:gs>
                    </a:gsLst>
                    <a:lin ang="5400000" scaled="1"/>
                  </a:gradFill>
                </a:ln>
                <a:no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副标题</a:t>
            </a:r>
            <a:endParaRPr lang="zh-CN" altLang="en-US" dirty="0"/>
          </a:p>
        </p:txBody>
      </p:sp>
      <p:sp>
        <p:nvSpPr>
          <p:cNvPr id="4" name="日期占位符 3"/>
          <p:cNvSpPr>
            <a:spLocks noGrp="1"/>
          </p:cNvSpPr>
          <p:nvPr>
            <p:ph type="dt" sz="half" idx="10"/>
            <p:custDataLst>
              <p:tags r:id="rId6"/>
            </p:custDataLst>
          </p:nvPr>
        </p:nvSpPr>
        <p:spPr>
          <a:xfrm>
            <a:off x="521970" y="6401991"/>
            <a:ext cx="2057400" cy="273844"/>
          </a:xfrm>
        </p:spPr>
        <p:txBody>
          <a:bodyPr wrap="square">
            <a:normAutofit/>
          </a:bodyPr>
          <a:lstStyle/>
          <a:p>
            <a:fld id="{5592522B-0F24-4480-B9DD-A9474A6880D6}" type="datetimeFigureOut">
              <a:rPr lang="zh-CN" altLang="en-US" smtClean="0"/>
            </a:fld>
            <a:endParaRPr lang="zh-CN" altLang="en-US"/>
          </a:p>
        </p:txBody>
      </p:sp>
      <p:sp>
        <p:nvSpPr>
          <p:cNvPr id="5" name="页脚占位符 4"/>
          <p:cNvSpPr>
            <a:spLocks noGrp="1"/>
          </p:cNvSpPr>
          <p:nvPr>
            <p:ph type="ftr" sz="quarter" idx="11"/>
            <p:custDataLst>
              <p:tags r:id="rId7"/>
            </p:custDataLst>
          </p:nvPr>
        </p:nvSpPr>
        <p:spPr>
          <a:xfrm>
            <a:off x="3028950" y="6401991"/>
            <a:ext cx="3086100" cy="273844"/>
          </a:xfrm>
        </p:spPr>
        <p:txBody>
          <a:bodyPr/>
          <a:lstStyle/>
          <a:p>
            <a:endParaRPr lang="zh-CN" altLang="en-US"/>
          </a:p>
        </p:txBody>
      </p:sp>
      <p:sp>
        <p:nvSpPr>
          <p:cNvPr id="6" name="灯片编号占位符 5"/>
          <p:cNvSpPr>
            <a:spLocks noGrp="1"/>
          </p:cNvSpPr>
          <p:nvPr>
            <p:ph type="sldNum" sz="quarter" idx="12"/>
            <p:custDataLst>
              <p:tags r:id="rId8"/>
            </p:custDataLst>
          </p:nvPr>
        </p:nvSpPr>
        <p:spPr>
          <a:xfrm>
            <a:off x="6457950" y="6401991"/>
            <a:ext cx="2057400" cy="273844"/>
          </a:xfrm>
        </p:spPr>
        <p:txBody>
          <a:bodyPr wrap="square">
            <a:normAutofit/>
          </a:bodyPr>
          <a:lstStyle/>
          <a:p>
            <a:fld id="{BE5F26B5-172A-4DC2-B0B7-181CFC56B87C}" type="slidenum">
              <a:rPr lang="zh-CN" altLang="en-US" smtClean="0"/>
            </a:fld>
            <a:endParaRPr lang="zh-CN" altLang="en-US"/>
          </a:p>
        </p:txBody>
      </p:sp>
      <p:sp>
        <p:nvSpPr>
          <p:cNvPr id="24" name="署名占位符 10"/>
          <p:cNvSpPr>
            <a:spLocks noGrp="1"/>
          </p:cNvSpPr>
          <p:nvPr>
            <p:ph type="body" sz="quarter" idx="17" hasCustomPrompt="1"/>
            <p:custDataLst>
              <p:tags r:id="rId9"/>
            </p:custDataLst>
          </p:nvPr>
        </p:nvSpPr>
        <p:spPr>
          <a:xfrm>
            <a:off x="825383" y="5047609"/>
            <a:ext cx="1485000" cy="324000"/>
          </a:xfrm>
          <a:prstGeom prst="roundRect">
            <a:avLst>
              <a:gd name="adj" fmla="val 50000"/>
            </a:avLst>
          </a:prstGeom>
          <a:gradFill>
            <a:gsLst>
              <a:gs pos="0">
                <a:schemeClr val="accent1">
                  <a:lumMod val="90000"/>
                  <a:lumOff val="10000"/>
                </a:schemeClr>
              </a:gs>
              <a:gs pos="100000">
                <a:schemeClr val="accent1">
                  <a:lumMod val="90000"/>
                  <a:lumOff val="10000"/>
                </a:schemeClr>
              </a:gs>
            </a:gsLst>
            <a:lin ang="5400000" scaled="0"/>
          </a:gradFill>
        </p:spPr>
        <p:txBody>
          <a:bodyPr wrap="square" anchor="ctr">
            <a:normAutofit/>
          </a:bodyPr>
          <a:lstStyle>
            <a:lvl1pPr marL="0" indent="0" algn="ctr">
              <a:lnSpc>
                <a:spcPct val="100000"/>
              </a:lnSpc>
              <a:buNone/>
              <a:defRPr sz="1200" b="1">
                <a:solidFill>
                  <a:schemeClr val="bg2"/>
                </a:solidFill>
              </a:defRPr>
            </a:lvl1pPr>
          </a:lstStyle>
          <a:p>
            <a:pPr lvl="0"/>
            <a:r>
              <a:rPr lang="zh-CN" altLang="en-US" dirty="0"/>
              <a:t>署名</a:t>
            </a:r>
            <a:endParaRPr lang="zh-CN" altLang="en-US" dirty="0"/>
          </a:p>
        </p:txBody>
      </p:sp>
      <p:sp>
        <p:nvSpPr>
          <p:cNvPr id="8" name="AutoShape 3"/>
          <p:cNvSpPr>
            <a:spLocks noChangeAspect="1" noChangeArrowheads="1" noTextEdit="1"/>
          </p:cNvSpPr>
          <p:nvPr userDrawn="1">
            <p:custDataLst>
              <p:tags r:id="rId10"/>
            </p:custDataLst>
          </p:nvPr>
        </p:nvSpPr>
        <p:spPr bwMode="auto">
          <a:xfrm>
            <a:off x="303539" y="2453173"/>
            <a:ext cx="35789" cy="174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endParaRPr lang="zh-CN" altLang="en-US" sz="1350"/>
          </a:p>
        </p:txBody>
      </p:sp>
      <p:sp>
        <p:nvSpPr>
          <p:cNvPr id="9" name="Freeform 5"/>
          <p:cNvSpPr/>
          <p:nvPr userDrawn="1">
            <p:custDataLst>
              <p:tags r:id="rId11"/>
            </p:custDataLst>
          </p:nvPr>
        </p:nvSpPr>
        <p:spPr bwMode="auto">
          <a:xfrm>
            <a:off x="298659" y="2213231"/>
            <a:ext cx="34162" cy="333479"/>
          </a:xfrm>
          <a:custGeom>
            <a:avLst/>
            <a:gdLst>
              <a:gd name="T0" fmla="*/ 0 w 6"/>
              <a:gd name="T1" fmla="*/ 83 h 86"/>
              <a:gd name="T2" fmla="*/ 0 w 6"/>
              <a:gd name="T3" fmla="*/ 3 h 86"/>
              <a:gd name="T4" fmla="*/ 3 w 6"/>
              <a:gd name="T5" fmla="*/ 0 h 86"/>
              <a:gd name="T6" fmla="*/ 6 w 6"/>
              <a:gd name="T7" fmla="*/ 3 h 86"/>
              <a:gd name="T8" fmla="*/ 6 w 6"/>
              <a:gd name="T9" fmla="*/ 83 h 86"/>
              <a:gd name="T10" fmla="*/ 3 w 6"/>
              <a:gd name="T11" fmla="*/ 86 h 86"/>
              <a:gd name="T12" fmla="*/ 0 w 6"/>
              <a:gd name="T13" fmla="*/ 83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0" y="83"/>
                </a:moveTo>
                <a:cubicBezTo>
                  <a:pt x="0" y="3"/>
                  <a:pt x="0" y="3"/>
                  <a:pt x="0" y="3"/>
                </a:cubicBezTo>
                <a:cubicBezTo>
                  <a:pt x="0" y="2"/>
                  <a:pt x="1" y="0"/>
                  <a:pt x="3" y="0"/>
                </a:cubicBezTo>
                <a:cubicBezTo>
                  <a:pt x="5" y="0"/>
                  <a:pt x="6" y="2"/>
                  <a:pt x="6" y="3"/>
                </a:cubicBezTo>
                <a:cubicBezTo>
                  <a:pt x="6" y="83"/>
                  <a:pt x="6" y="83"/>
                  <a:pt x="6" y="83"/>
                </a:cubicBezTo>
                <a:cubicBezTo>
                  <a:pt x="6" y="85"/>
                  <a:pt x="5" y="86"/>
                  <a:pt x="3" y="86"/>
                </a:cubicBezTo>
                <a:cubicBezTo>
                  <a:pt x="1" y="86"/>
                  <a:pt x="0" y="85"/>
                  <a:pt x="0" y="83"/>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11" name="Freeform 6"/>
          <p:cNvSpPr/>
          <p:nvPr userDrawn="1">
            <p:custDataLst>
              <p:tags r:id="rId12"/>
            </p:custDataLst>
          </p:nvPr>
        </p:nvSpPr>
        <p:spPr bwMode="auto">
          <a:xfrm>
            <a:off x="298659" y="284819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2" name="Freeform 7"/>
          <p:cNvSpPr/>
          <p:nvPr userDrawn="1">
            <p:custDataLst>
              <p:tags r:id="rId13"/>
            </p:custDataLst>
          </p:nvPr>
        </p:nvSpPr>
        <p:spPr bwMode="auto">
          <a:xfrm>
            <a:off x="298659" y="347936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3" name="Freeform 8"/>
          <p:cNvSpPr/>
          <p:nvPr userDrawn="1">
            <p:custDataLst>
              <p:tags r:id="rId14"/>
            </p:custDataLst>
          </p:nvPr>
        </p:nvSpPr>
        <p:spPr bwMode="auto">
          <a:xfrm>
            <a:off x="298659" y="4110537"/>
            <a:ext cx="34162" cy="330226"/>
          </a:xfrm>
          <a:custGeom>
            <a:avLst/>
            <a:gdLst>
              <a:gd name="T0" fmla="*/ 3 w 6"/>
              <a:gd name="T1" fmla="*/ 0 h 85"/>
              <a:gd name="T2" fmla="*/ 0 w 6"/>
              <a:gd name="T3" fmla="*/ 3 h 85"/>
              <a:gd name="T4" fmla="*/ 0 w 6"/>
              <a:gd name="T5" fmla="*/ 82 h 85"/>
              <a:gd name="T6" fmla="*/ 3 w 6"/>
              <a:gd name="T7" fmla="*/ 85 h 85"/>
              <a:gd name="T8" fmla="*/ 6 w 6"/>
              <a:gd name="T9" fmla="*/ 82 h 85"/>
              <a:gd name="T10" fmla="*/ 6 w 6"/>
              <a:gd name="T11" fmla="*/ 3 h 85"/>
              <a:gd name="T12" fmla="*/ 3 w 6"/>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6" h="85">
                <a:moveTo>
                  <a:pt x="3" y="0"/>
                </a:moveTo>
                <a:cubicBezTo>
                  <a:pt x="1" y="0"/>
                  <a:pt x="0" y="1"/>
                  <a:pt x="0" y="3"/>
                </a:cubicBezTo>
                <a:cubicBezTo>
                  <a:pt x="0" y="82"/>
                  <a:pt x="0" y="82"/>
                  <a:pt x="0" y="82"/>
                </a:cubicBezTo>
                <a:cubicBezTo>
                  <a:pt x="0" y="84"/>
                  <a:pt x="1" y="85"/>
                  <a:pt x="3" y="85"/>
                </a:cubicBezTo>
                <a:cubicBezTo>
                  <a:pt x="5" y="85"/>
                  <a:pt x="6" y="84"/>
                  <a:pt x="6" y="82"/>
                </a:cubicBezTo>
                <a:cubicBezTo>
                  <a:pt x="6" y="3"/>
                  <a:pt x="6" y="3"/>
                  <a:pt x="6" y="3"/>
                </a:cubicBezTo>
                <a:cubicBezTo>
                  <a:pt x="6" y="1"/>
                  <a:pt x="5" y="0"/>
                  <a:pt x="3"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dirty="0"/>
          </a:p>
        </p:txBody>
      </p:sp>
      <p:sp>
        <p:nvSpPr>
          <p:cNvPr id="16" name="Freeform 15"/>
          <p:cNvSpPr/>
          <p:nvPr userDrawn="1">
            <p:custDataLst>
              <p:tags r:id="rId15"/>
            </p:custDataLst>
          </p:nvPr>
        </p:nvSpPr>
        <p:spPr bwMode="auto">
          <a:xfrm>
            <a:off x="300990" y="475377"/>
            <a:ext cx="275273" cy="32861"/>
          </a:xfrm>
          <a:custGeom>
            <a:avLst/>
            <a:gdLst>
              <a:gd name="T0" fmla="*/ 52 w 55"/>
              <a:gd name="T1" fmla="*/ 8 h 8"/>
              <a:gd name="T2" fmla="*/ 4 w 55"/>
              <a:gd name="T3" fmla="*/ 8 h 8"/>
              <a:gd name="T4" fmla="*/ 0 w 55"/>
              <a:gd name="T5" fmla="*/ 4 h 8"/>
              <a:gd name="T6" fmla="*/ 0 w 55"/>
              <a:gd name="T7" fmla="*/ 4 h 8"/>
              <a:gd name="T8" fmla="*/ 4 w 55"/>
              <a:gd name="T9" fmla="*/ 0 h 8"/>
              <a:gd name="T10" fmla="*/ 52 w 55"/>
              <a:gd name="T11" fmla="*/ 0 h 8"/>
              <a:gd name="T12" fmla="*/ 55 w 55"/>
              <a:gd name="T13" fmla="*/ 4 h 8"/>
              <a:gd name="T14" fmla="*/ 55 w 55"/>
              <a:gd name="T15" fmla="*/ 4 h 8"/>
              <a:gd name="T16" fmla="*/ 52 w 5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8">
                <a:moveTo>
                  <a:pt x="52" y="8"/>
                </a:moveTo>
                <a:cubicBezTo>
                  <a:pt x="4" y="8"/>
                  <a:pt x="4" y="8"/>
                  <a:pt x="4" y="8"/>
                </a:cubicBezTo>
                <a:cubicBezTo>
                  <a:pt x="2" y="8"/>
                  <a:pt x="0" y="6"/>
                  <a:pt x="0" y="4"/>
                </a:cubicBezTo>
                <a:cubicBezTo>
                  <a:pt x="0" y="4"/>
                  <a:pt x="0" y="4"/>
                  <a:pt x="0" y="4"/>
                </a:cubicBezTo>
                <a:cubicBezTo>
                  <a:pt x="0" y="2"/>
                  <a:pt x="2" y="0"/>
                  <a:pt x="4" y="0"/>
                </a:cubicBezTo>
                <a:cubicBezTo>
                  <a:pt x="52" y="0"/>
                  <a:pt x="52" y="0"/>
                  <a:pt x="52" y="0"/>
                </a:cubicBezTo>
                <a:cubicBezTo>
                  <a:pt x="54" y="0"/>
                  <a:pt x="55" y="2"/>
                  <a:pt x="55" y="4"/>
                </a:cubicBezTo>
                <a:cubicBezTo>
                  <a:pt x="55" y="4"/>
                  <a:pt x="55" y="4"/>
                  <a:pt x="55" y="4"/>
                </a:cubicBezTo>
                <a:cubicBezTo>
                  <a:pt x="55" y="6"/>
                  <a:pt x="54" y="8"/>
                  <a:pt x="52"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7" name="Freeform 16"/>
          <p:cNvSpPr/>
          <p:nvPr userDrawn="1">
            <p:custDataLst>
              <p:tags r:id="rId16"/>
            </p:custDataLst>
          </p:nvPr>
        </p:nvSpPr>
        <p:spPr bwMode="auto">
          <a:xfrm>
            <a:off x="300990" y="603012"/>
            <a:ext cx="275273" cy="32861"/>
          </a:xfrm>
          <a:custGeom>
            <a:avLst/>
            <a:gdLst>
              <a:gd name="T0" fmla="*/ 52 w 55"/>
              <a:gd name="T1" fmla="*/ 8 h 8"/>
              <a:gd name="T2" fmla="*/ 4 w 55"/>
              <a:gd name="T3" fmla="*/ 8 h 8"/>
              <a:gd name="T4" fmla="*/ 0 w 55"/>
              <a:gd name="T5" fmla="*/ 4 h 8"/>
              <a:gd name="T6" fmla="*/ 0 w 55"/>
              <a:gd name="T7" fmla="*/ 3 h 8"/>
              <a:gd name="T8" fmla="*/ 4 w 55"/>
              <a:gd name="T9" fmla="*/ 0 h 8"/>
              <a:gd name="T10" fmla="*/ 52 w 55"/>
              <a:gd name="T11" fmla="*/ 0 h 8"/>
              <a:gd name="T12" fmla="*/ 55 w 55"/>
              <a:gd name="T13" fmla="*/ 3 h 8"/>
              <a:gd name="T14" fmla="*/ 55 w 55"/>
              <a:gd name="T15" fmla="*/ 4 h 8"/>
              <a:gd name="T16" fmla="*/ 52 w 5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8">
                <a:moveTo>
                  <a:pt x="52" y="8"/>
                </a:moveTo>
                <a:cubicBezTo>
                  <a:pt x="4" y="8"/>
                  <a:pt x="4" y="8"/>
                  <a:pt x="4" y="8"/>
                </a:cubicBezTo>
                <a:cubicBezTo>
                  <a:pt x="2" y="8"/>
                  <a:pt x="0" y="6"/>
                  <a:pt x="0" y="4"/>
                </a:cubicBezTo>
                <a:cubicBezTo>
                  <a:pt x="0" y="3"/>
                  <a:pt x="0" y="3"/>
                  <a:pt x="0" y="3"/>
                </a:cubicBezTo>
                <a:cubicBezTo>
                  <a:pt x="0" y="1"/>
                  <a:pt x="2" y="0"/>
                  <a:pt x="4" y="0"/>
                </a:cubicBezTo>
                <a:cubicBezTo>
                  <a:pt x="52" y="0"/>
                  <a:pt x="52" y="0"/>
                  <a:pt x="52" y="0"/>
                </a:cubicBezTo>
                <a:cubicBezTo>
                  <a:pt x="54" y="0"/>
                  <a:pt x="55" y="1"/>
                  <a:pt x="55" y="3"/>
                </a:cubicBezTo>
                <a:cubicBezTo>
                  <a:pt x="55" y="4"/>
                  <a:pt x="55" y="4"/>
                  <a:pt x="55" y="4"/>
                </a:cubicBezTo>
                <a:cubicBezTo>
                  <a:pt x="55" y="6"/>
                  <a:pt x="54" y="8"/>
                  <a:pt x="52"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9" name="Freeform 17"/>
          <p:cNvSpPr/>
          <p:nvPr userDrawn="1">
            <p:custDataLst>
              <p:tags r:id="rId17"/>
            </p:custDataLst>
          </p:nvPr>
        </p:nvSpPr>
        <p:spPr bwMode="auto">
          <a:xfrm>
            <a:off x="300990" y="730647"/>
            <a:ext cx="275273" cy="32861"/>
          </a:xfrm>
          <a:custGeom>
            <a:avLst/>
            <a:gdLst>
              <a:gd name="T0" fmla="*/ 52 w 55"/>
              <a:gd name="T1" fmla="*/ 7 h 7"/>
              <a:gd name="T2" fmla="*/ 4 w 55"/>
              <a:gd name="T3" fmla="*/ 7 h 7"/>
              <a:gd name="T4" fmla="*/ 0 w 55"/>
              <a:gd name="T5" fmla="*/ 4 h 7"/>
              <a:gd name="T6" fmla="*/ 0 w 55"/>
              <a:gd name="T7" fmla="*/ 3 h 7"/>
              <a:gd name="T8" fmla="*/ 4 w 55"/>
              <a:gd name="T9" fmla="*/ 0 h 7"/>
              <a:gd name="T10" fmla="*/ 52 w 55"/>
              <a:gd name="T11" fmla="*/ 0 h 7"/>
              <a:gd name="T12" fmla="*/ 55 w 55"/>
              <a:gd name="T13" fmla="*/ 3 h 7"/>
              <a:gd name="T14" fmla="*/ 55 w 55"/>
              <a:gd name="T15" fmla="*/ 4 h 7"/>
              <a:gd name="T16" fmla="*/ 52 w 5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7">
                <a:moveTo>
                  <a:pt x="52" y="7"/>
                </a:moveTo>
                <a:cubicBezTo>
                  <a:pt x="4" y="7"/>
                  <a:pt x="4" y="7"/>
                  <a:pt x="4" y="7"/>
                </a:cubicBezTo>
                <a:cubicBezTo>
                  <a:pt x="2" y="7"/>
                  <a:pt x="0" y="6"/>
                  <a:pt x="0" y="4"/>
                </a:cubicBezTo>
                <a:cubicBezTo>
                  <a:pt x="0" y="3"/>
                  <a:pt x="0" y="3"/>
                  <a:pt x="0" y="3"/>
                </a:cubicBezTo>
                <a:cubicBezTo>
                  <a:pt x="0" y="1"/>
                  <a:pt x="2" y="0"/>
                  <a:pt x="4" y="0"/>
                </a:cubicBezTo>
                <a:cubicBezTo>
                  <a:pt x="52" y="0"/>
                  <a:pt x="52" y="0"/>
                  <a:pt x="52" y="0"/>
                </a:cubicBezTo>
                <a:cubicBezTo>
                  <a:pt x="54" y="0"/>
                  <a:pt x="55" y="1"/>
                  <a:pt x="55" y="3"/>
                </a:cubicBezTo>
                <a:cubicBezTo>
                  <a:pt x="55" y="4"/>
                  <a:pt x="55" y="4"/>
                  <a:pt x="55" y="4"/>
                </a:cubicBezTo>
                <a:cubicBezTo>
                  <a:pt x="55" y="6"/>
                  <a:pt x="54" y="7"/>
                  <a:pt x="52" y="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9" name="矩形 8"/>
          <p:cNvSpPr/>
          <p:nvPr userDrawn="1">
            <p:custDataLst>
              <p:tags r:id="rId2"/>
            </p:custDataLst>
          </p:nvPr>
        </p:nvSpPr>
        <p:spPr>
          <a:xfrm>
            <a:off x="0" y="857250"/>
            <a:ext cx="9140190" cy="5143024"/>
          </a:xfrm>
          <a:prstGeom prst="rect">
            <a:avLst/>
          </a:prstGeom>
          <a:gradFill>
            <a:gsLst>
              <a:gs pos="0">
                <a:schemeClr val="accent1">
                  <a:lumMod val="15000"/>
                </a:schemeClr>
              </a:gs>
              <a:gs pos="100000">
                <a:schemeClr val="accent1">
                  <a:lumMod val="15000"/>
                </a:schemeClr>
              </a:gs>
            </a:gsLst>
            <a:lin ang="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350"/>
          </a:p>
        </p:txBody>
      </p:sp>
      <p:pic>
        <p:nvPicPr>
          <p:cNvPr id="7" name="图片 6"/>
          <p:cNvPicPr>
            <a:picLocks noChangeAspect="1"/>
          </p:cNvPicPr>
          <p:nvPr userDrawn="1">
            <p:custDataLst>
              <p:tags r:id="rId3"/>
            </p:custDataLst>
          </p:nvPr>
        </p:nvPicPr>
        <p:blipFill>
          <a:blip r:embed="rId4">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pic>
        <p:nvPicPr>
          <p:cNvPr id="14" name="图片 13"/>
          <p:cNvPicPr>
            <a:picLocks noChangeAspect="1"/>
          </p:cNvPicPr>
          <p:nvPr userDrawn="1">
            <p:custDataLst>
              <p:tags r:id="rId5"/>
            </p:custDataLst>
          </p:nvPr>
        </p:nvPicPr>
        <p:blipFill>
          <a:blip r:embed="rId6">
            <a:alphaModFix amt="50000"/>
            <a:duotone>
              <a:prstClr val="black"/>
              <a:schemeClr val="accent2">
                <a:lumMod val="75000"/>
                <a:tint val="45000"/>
                <a:satMod val="400000"/>
              </a:schemeClr>
            </a:duotone>
            <a:lum bright="36000" contrast="60000"/>
            <a:extLst>
              <a:ext uri="{28A0092B-C50C-407E-A947-70E740481C1C}">
                <a14:useLocalDpi xmlns:a14="http://schemas.microsoft.com/office/drawing/2010/main" val="0"/>
              </a:ext>
            </a:extLst>
          </a:blip>
          <a:stretch>
            <a:fillRect/>
          </a:stretch>
        </p:blipFill>
        <p:spPr>
          <a:xfrm>
            <a:off x="0" y="857441"/>
            <a:ext cx="9144000" cy="5143500"/>
          </a:xfrm>
          <a:prstGeom prst="rect">
            <a:avLst/>
          </a:prstGeom>
        </p:spPr>
      </p:pic>
      <p:sp>
        <p:nvSpPr>
          <p:cNvPr id="2" name="标题 1"/>
          <p:cNvSpPr>
            <a:spLocks noGrp="1"/>
          </p:cNvSpPr>
          <p:nvPr>
            <p:ph type="ctrTitle"/>
            <p:custDataLst>
              <p:tags r:id="rId7"/>
            </p:custDataLst>
          </p:nvPr>
        </p:nvSpPr>
        <p:spPr>
          <a:xfrm>
            <a:off x="761238" y="1370076"/>
            <a:ext cx="7619238" cy="1770888"/>
          </a:xfrm>
          <a:noFill/>
        </p:spPr>
        <p:txBody>
          <a:bodyPr wrap="square" anchor="b">
            <a:normAutofit/>
          </a:bodyPr>
          <a:lstStyle>
            <a:lvl1pPr algn="ctr">
              <a:lnSpc>
                <a:spcPct val="100000"/>
              </a:lnSpc>
              <a:defRPr sz="4800" b="1">
                <a:solidFill>
                  <a:schemeClr val="lt1">
                    <a:lumMod val="100000"/>
                  </a:schemeClr>
                </a:solidFill>
                <a:latin typeface="+mj-ea"/>
                <a:ea typeface="+mj-ea"/>
              </a:defRPr>
            </a:lvl1pPr>
          </a:lstStyle>
          <a:p>
            <a:r>
              <a:rPr lang="zh-CN" altLang="en-US" dirty="0"/>
              <a:t>单击此处编辑母版标题样式</a:t>
            </a:r>
            <a:endParaRPr lang="zh-CN" altLang="en-US" dirty="0"/>
          </a:p>
        </p:txBody>
      </p:sp>
      <p:sp>
        <p:nvSpPr>
          <p:cNvPr id="4" name="日期占位符 3"/>
          <p:cNvSpPr>
            <a:spLocks noGrp="1"/>
          </p:cNvSpPr>
          <p:nvPr>
            <p:ph type="dt" sz="half" idx="10"/>
            <p:custDataLst>
              <p:tags r:id="rId8"/>
            </p:custDataLst>
          </p:nvPr>
        </p:nvSpPr>
        <p:spPr/>
        <p:txBody>
          <a:bodyPr wrap="square">
            <a:normAutofit/>
          </a:bodyPr>
          <a:lstStyle/>
          <a:p>
            <a:fld id="{5592522B-0F24-4480-B9DD-A9474A6880D6}" type="datetimeFigureOut">
              <a:rPr lang="zh-CN" altLang="en-US" smtClean="0"/>
            </a:fld>
            <a:endParaRPr lang="zh-CN" altLang="en-US"/>
          </a:p>
        </p:txBody>
      </p:sp>
      <p:sp>
        <p:nvSpPr>
          <p:cNvPr id="5" name="页脚占位符 4"/>
          <p:cNvSpPr>
            <a:spLocks noGrp="1"/>
          </p:cNvSpPr>
          <p:nvPr>
            <p:ph type="ftr" sz="quarter" idx="11"/>
            <p:custDataLst>
              <p:tags r:id="rId9"/>
            </p:custDataLst>
          </p:nvPr>
        </p:nvSpPr>
        <p:spPr/>
        <p:txBody>
          <a:bodyPr/>
          <a:lstStyle/>
          <a:p>
            <a:endParaRPr lang="zh-CN" altLang="en-US"/>
          </a:p>
        </p:txBody>
      </p:sp>
      <p:sp>
        <p:nvSpPr>
          <p:cNvPr id="6" name="灯片编号占位符 5"/>
          <p:cNvSpPr>
            <a:spLocks noGrp="1"/>
          </p:cNvSpPr>
          <p:nvPr>
            <p:ph type="sldNum" sz="quarter" idx="12"/>
            <p:custDataLst>
              <p:tags r:id="rId10"/>
            </p:custDataLst>
          </p:nvPr>
        </p:nvSpPr>
        <p:spPr>
          <a:xfrm>
            <a:off x="6457950" y="5624513"/>
            <a:ext cx="2057400" cy="273844"/>
          </a:xfrm>
        </p:spPr>
        <p:txBody>
          <a:bodyPr wrap="square">
            <a:normAutofit/>
          </a:bodyPr>
          <a:lstStyle/>
          <a:p>
            <a:fld id="{BE5F26B5-172A-4DC2-B0B7-181CFC56B87C}" type="slidenum">
              <a:rPr lang="zh-CN" altLang="en-US" smtClean="0"/>
            </a:fld>
            <a:endParaRPr lang="zh-CN" altLang="en-US"/>
          </a:p>
        </p:txBody>
      </p:sp>
      <p:sp>
        <p:nvSpPr>
          <p:cNvPr id="24" name="文本占位符 23"/>
          <p:cNvSpPr>
            <a:spLocks noGrp="1"/>
          </p:cNvSpPr>
          <p:nvPr>
            <p:ph type="body" sz="quarter" idx="17" hasCustomPrompt="1"/>
            <p:custDataLst>
              <p:tags r:id="rId11"/>
            </p:custDataLst>
          </p:nvPr>
        </p:nvSpPr>
        <p:spPr>
          <a:xfrm>
            <a:off x="761048" y="3525203"/>
            <a:ext cx="7619048" cy="985838"/>
          </a:xfrm>
          <a:noFill/>
        </p:spPr>
        <p:txBody>
          <a:bodyPr wrap="square" anchor="t">
            <a:normAutofit/>
          </a:bodyPr>
          <a:lstStyle>
            <a:lvl1pPr marL="0" indent="0" algn="ctr">
              <a:lnSpc>
                <a:spcPct val="100000"/>
              </a:lnSpc>
              <a:buNone/>
              <a:defRPr sz="1350" b="0">
                <a:solidFill>
                  <a:schemeClr val="lt1">
                    <a:lumMod val="100000"/>
                  </a:schemeClr>
                </a:solidFill>
                <a:latin typeface="+mn-ea"/>
                <a:ea typeface="+mn-ea"/>
              </a:defRPr>
            </a:lvl1pPr>
          </a:lstStyle>
          <a:p>
            <a:pPr lvl="0"/>
            <a:r>
              <a:rPr lang="zh-CN" altLang="en-US" dirty="0"/>
              <a:t>署名占位符</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ea typeface="+mn-ea"/>
              </a:defRPr>
            </a:lvl1pPr>
            <a:lvl2pPr>
              <a:defRPr sz="2400">
                <a:ea typeface="+mn-ea"/>
              </a:defRPr>
            </a:lvl2pPr>
            <a:lvl3pPr>
              <a:defRPr sz="2000">
                <a:ea typeface="+mn-ea"/>
              </a:defRPr>
            </a:lvl3pPr>
            <a:lvl4pPr>
              <a:defRPr sz="1800">
                <a:ea typeface="+mn-ea"/>
              </a:defRPr>
            </a:lvl4pPr>
            <a:lvl5pPr>
              <a:defRPr sz="1800">
                <a:ea typeface="+mn-ea"/>
              </a:defRPr>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ea typeface="+mn-ea"/>
              </a:defRPr>
            </a:lvl1pPr>
            <a:lvl2pPr>
              <a:defRPr sz="2400">
                <a:ea typeface="+mn-ea"/>
              </a:defRPr>
            </a:lvl2pPr>
            <a:lvl3pPr>
              <a:defRPr sz="2000">
                <a:ea typeface="+mn-ea"/>
              </a:defRPr>
            </a:lvl3pPr>
            <a:lvl4pPr>
              <a:defRPr sz="1800">
                <a:ea typeface="+mn-ea"/>
              </a:defRPr>
            </a:lvl4pPr>
            <a:lvl5pPr>
              <a:defRPr sz="1800">
                <a:ea typeface="+mn-ea"/>
              </a:defRPr>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ea typeface="+mn-ea"/>
              </a:defRPr>
            </a:lvl1pPr>
            <a:lvl2pPr>
              <a:defRPr sz="2000">
                <a:ea typeface="+mn-ea"/>
              </a:defRPr>
            </a:lvl2pPr>
            <a:lvl3pPr>
              <a:defRPr sz="1800">
                <a:ea typeface="+mn-ea"/>
              </a:defRPr>
            </a:lvl3pPr>
            <a:lvl4pPr>
              <a:defRPr sz="1600">
                <a:ea typeface="+mn-ea"/>
              </a:defRPr>
            </a:lvl4pPr>
            <a:lvl5pPr>
              <a:defRPr sz="1600">
                <a:ea typeface="+mn-ea"/>
              </a:defRPr>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ea typeface="+mn-ea"/>
              </a:defRPr>
            </a:lvl1pPr>
            <a:lvl2pPr>
              <a:defRPr sz="2000">
                <a:ea typeface="+mn-ea"/>
              </a:defRPr>
            </a:lvl2pPr>
            <a:lvl3pPr>
              <a:defRPr sz="1800">
                <a:ea typeface="+mn-ea"/>
              </a:defRPr>
            </a:lvl3pPr>
            <a:lvl4pPr>
              <a:defRPr sz="1600">
                <a:ea typeface="+mn-ea"/>
              </a:defRPr>
            </a:lvl4pPr>
            <a:lvl5pPr>
              <a:defRPr sz="1600">
                <a:ea typeface="+mn-ea"/>
              </a:defRPr>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ea typeface="+mn-ea"/>
              </a:defRPr>
            </a:lvl1pPr>
            <a:lvl2pPr>
              <a:defRPr sz="2800">
                <a:ea typeface="+mn-ea"/>
              </a:defRPr>
            </a:lvl2pPr>
            <a:lvl3pPr>
              <a:defRPr sz="2400">
                <a:ea typeface="+mn-ea"/>
              </a:defRPr>
            </a:lvl3pPr>
            <a:lvl4pPr>
              <a:defRPr sz="2000">
                <a:ea typeface="+mn-ea"/>
              </a:defRPr>
            </a:lvl4pPr>
            <a:lvl5pPr>
              <a:defRPr sz="2000">
                <a:ea typeface="+mn-ea"/>
              </a:defRPr>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8.jpeg"/><Relationship Id="rId17" Type="http://schemas.openxmlformats.org/officeDocument/2006/relationships/image" Target="../media/image7.png"/><Relationship Id="rId16" Type="http://schemas.openxmlformats.org/officeDocument/2006/relationships/image" Target="../media/image6.png"/><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4.xml"/><Relationship Id="rId8" Type="http://schemas.openxmlformats.org/officeDocument/2006/relationships/slideLayout" Target="../slideLayouts/slideLayout23.xml"/><Relationship Id="rId7" Type="http://schemas.openxmlformats.org/officeDocument/2006/relationships/slideLayout" Target="../slideLayouts/slideLayout22.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3" Type="http://schemas.openxmlformats.org/officeDocument/2006/relationships/slideLayout" Target="../slideLayouts/slideLayout18.xml"/><Relationship Id="rId27" Type="http://schemas.openxmlformats.org/officeDocument/2006/relationships/theme" Target="../theme/theme2.xml"/><Relationship Id="rId26" Type="http://schemas.openxmlformats.org/officeDocument/2006/relationships/tags" Target="../tags/tag98.xml"/><Relationship Id="rId25" Type="http://schemas.openxmlformats.org/officeDocument/2006/relationships/tags" Target="../tags/tag97.xml"/><Relationship Id="rId24" Type="http://schemas.openxmlformats.org/officeDocument/2006/relationships/tags" Target="../tags/tag96.xml"/><Relationship Id="rId23" Type="http://schemas.openxmlformats.org/officeDocument/2006/relationships/tags" Target="../tags/tag95.xml"/><Relationship Id="rId22" Type="http://schemas.openxmlformats.org/officeDocument/2006/relationships/tags" Target="../tags/tag94.xml"/><Relationship Id="rId21" Type="http://schemas.openxmlformats.org/officeDocument/2006/relationships/tags" Target="../tags/tag93.xml"/><Relationship Id="rId20" Type="http://schemas.openxmlformats.org/officeDocument/2006/relationships/tags" Target="../tags/tag92.xml"/><Relationship Id="rId2" Type="http://schemas.openxmlformats.org/officeDocument/2006/relationships/slideLayout" Target="../slideLayouts/slideLayout17.xml"/><Relationship Id="rId19" Type="http://schemas.openxmlformats.org/officeDocument/2006/relationships/tags" Target="../tags/tag91.xml"/><Relationship Id="rId18" Type="http://schemas.openxmlformats.org/officeDocument/2006/relationships/tags" Target="../tags/tag90.xml"/><Relationship Id="rId17" Type="http://schemas.openxmlformats.org/officeDocument/2006/relationships/tags" Target="../tags/tag89.xml"/><Relationship Id="rId16" Type="http://schemas.openxmlformats.org/officeDocument/2006/relationships/tags" Target="../tags/tag88.xml"/><Relationship Id="rId15" Type="http://schemas.openxmlformats.org/officeDocument/2006/relationships/tags" Target="../tags/tag87.xml"/><Relationship Id="rId14" Type="http://schemas.openxmlformats.org/officeDocument/2006/relationships/tags" Target="../tags/tag86.xml"/><Relationship Id="rId13" Type="http://schemas.openxmlformats.org/officeDocument/2006/relationships/tags" Target="../tags/tag85.xml"/><Relationship Id="rId12" Type="http://schemas.openxmlformats.org/officeDocument/2006/relationships/tags" Target="../tags/tag84.xml"/><Relationship Id="rId11" Type="http://schemas.openxmlformats.org/officeDocument/2006/relationships/slideLayout" Target="../slideLayouts/slideLayout26.xml"/><Relationship Id="rId10" Type="http://schemas.openxmlformats.org/officeDocument/2006/relationships/slideLayout" Target="../slideLayouts/slideLayout25.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9" Type="http://schemas.openxmlformats.org/officeDocument/2006/relationships/image" Target="../media/image11.png"/><Relationship Id="rId8" Type="http://schemas.openxmlformats.org/officeDocument/2006/relationships/tags" Target="../tags/tag113.xml"/><Relationship Id="rId7" Type="http://schemas.openxmlformats.org/officeDocument/2006/relationships/tags" Target="../tags/tag11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3" Type="http://schemas.openxmlformats.org/officeDocument/2006/relationships/tags" Target="../tags/tag108.xml"/><Relationship Id="rId2" Type="http://schemas.openxmlformats.org/officeDocument/2006/relationships/tags" Target="../tags/tag107.xml"/><Relationship Id="rId13" Type="http://schemas.openxmlformats.org/officeDocument/2006/relationships/theme" Target="../theme/theme3.xml"/><Relationship Id="rId12" Type="http://schemas.openxmlformats.org/officeDocument/2006/relationships/tags" Target="../tags/tag115.xml"/><Relationship Id="rId11" Type="http://schemas.openxmlformats.org/officeDocument/2006/relationships/image" Target="../media/image13.png"/><Relationship Id="rId10" Type="http://schemas.openxmlformats.org/officeDocument/2006/relationships/tags" Target="../tags/tag114.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pSp>
        <p:nvGrpSpPr>
          <p:cNvPr id="1026" name="Group 2"/>
          <p:cNvGrpSpPr/>
          <p:nvPr/>
        </p:nvGrpSpPr>
        <p:grpSpPr bwMode="auto">
          <a:xfrm>
            <a:off x="0" y="285750"/>
            <a:ext cx="9155113" cy="911225"/>
            <a:chOff x="0" y="0"/>
            <a:chExt cx="5768" cy="635"/>
          </a:xfrm>
        </p:grpSpPr>
        <p:sp>
          <p:nvSpPr>
            <p:cNvPr id="1032" name="Rectangle 3"/>
            <p:cNvSpPr>
              <a:spLocks noChangeArrowheads="1"/>
            </p:cNvSpPr>
            <p:nvPr userDrawn="1"/>
          </p:nvSpPr>
          <p:spPr bwMode="auto">
            <a:xfrm>
              <a:off x="2" y="0"/>
              <a:ext cx="5766" cy="635"/>
            </a:xfrm>
            <a:prstGeom prst="rect">
              <a:avLst/>
            </a:prstGeom>
            <a:gradFill rotWithShape="1">
              <a:gsLst>
                <a:gs pos="0">
                  <a:schemeClr val="accent1"/>
                </a:gs>
                <a:gs pos="100000">
                  <a:schemeClr val="tx1"/>
                </a:gs>
              </a:gsLst>
              <a:lin ang="0" scaled="1"/>
            </a:gradFill>
            <a:ln>
              <a:noFill/>
            </a:ln>
          </p:spPr>
          <p:txBody>
            <a:bodyPr wrap="none"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defRPr/>
              </a:pPr>
              <a:endParaRPr lang="zh-CN" altLang="en-US">
                <a:latin typeface="+mn-lt"/>
              </a:endParaRPr>
            </a:p>
          </p:txBody>
        </p:sp>
        <p:sp>
          <p:nvSpPr>
            <p:cNvPr id="1028" name="未知"/>
            <p:cNvSpPr/>
            <p:nvPr userDrawn="1"/>
          </p:nvSpPr>
          <p:spPr bwMode="auto">
            <a:xfrm flipH="1" flipV="1">
              <a:off x="2266" y="0"/>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ln>
            <a:effectLst/>
          </p:spPr>
          <p:txBody>
            <a:bodyPr/>
            <a:lstStyle/>
            <a:p>
              <a:pPr>
                <a:defRPr/>
              </a:pPr>
              <a:endParaRPr lang="zh-CN" altLang="en-US">
                <a:latin typeface="+mn-lt"/>
              </a:endParaRPr>
            </a:p>
          </p:txBody>
        </p:sp>
        <p:sp>
          <p:nvSpPr>
            <p:cNvPr id="2" name="未知"/>
            <p:cNvSpPr/>
            <p:nvPr userDrawn="1"/>
          </p:nvSpPr>
          <p:spPr bwMode="auto">
            <a:xfrm>
              <a:off x="0" y="318"/>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ln>
            <a:effectLst/>
          </p:spPr>
          <p:txBody>
            <a:bodyPr/>
            <a:lstStyle/>
            <a:p>
              <a:pPr>
                <a:defRPr/>
              </a:pPr>
              <a:endParaRPr lang="zh-CN" altLang="en-US">
                <a:latin typeface="+mn-lt"/>
              </a:endParaRPr>
            </a:p>
          </p:txBody>
        </p:sp>
      </p:grpSp>
      <p:sp>
        <p:nvSpPr>
          <p:cNvPr id="1030" name="Rectangle 6"/>
          <p:cNvSpPr>
            <a:spLocks noChangeArrowheads="1"/>
          </p:cNvSpPr>
          <p:nvPr/>
        </p:nvSpPr>
        <p:spPr bwMode="auto">
          <a:xfrm>
            <a:off x="0" y="0"/>
            <a:ext cx="9144000" cy="241300"/>
          </a:xfrm>
          <a:prstGeom prst="rect">
            <a:avLst/>
          </a:prstGeom>
          <a:gradFill rotWithShape="0">
            <a:gsLst>
              <a:gs pos="0">
                <a:schemeClr val="tx1"/>
              </a:gs>
              <a:gs pos="100000">
                <a:schemeClr val="tx1">
                  <a:gamma/>
                  <a:shade val="46275"/>
                  <a:invGamma/>
                </a:schemeClr>
              </a:gs>
            </a:gsLst>
            <a:lin ang="0" scaled="1"/>
          </a:gradFill>
          <a:ln w="9525">
            <a:noFill/>
            <a:miter lim="800000"/>
          </a:ln>
          <a:effectLst/>
        </p:spPr>
        <p:txBody>
          <a:bodyPr wrap="none" anchor="ctr"/>
          <a:lstStyle/>
          <a:p>
            <a:pPr>
              <a:defRPr/>
            </a:pPr>
            <a:endParaRPr lang="zh-CN" altLang="en-US">
              <a:latin typeface="+mn-lt"/>
            </a:endParaRPr>
          </a:p>
        </p:txBody>
      </p:sp>
      <p:sp>
        <p:nvSpPr>
          <p:cNvPr id="1031" name="Rectangle 7"/>
          <p:cNvSpPr>
            <a:spLocks noChangeArrowheads="1"/>
          </p:cNvSpPr>
          <p:nvPr/>
        </p:nvSpPr>
        <p:spPr bwMode="auto">
          <a:xfrm>
            <a:off x="11113" y="1235075"/>
            <a:ext cx="9132887" cy="158750"/>
          </a:xfrm>
          <a:prstGeom prst="rect">
            <a:avLst/>
          </a:prstGeom>
          <a:gradFill rotWithShape="0">
            <a:gsLst>
              <a:gs pos="0">
                <a:schemeClr val="bg2"/>
              </a:gs>
              <a:gs pos="100000">
                <a:schemeClr val="bg2">
                  <a:gamma/>
                  <a:tint val="0"/>
                  <a:invGamma/>
                </a:schemeClr>
              </a:gs>
            </a:gsLst>
            <a:lin ang="5400000" scaled="1"/>
          </a:gradFill>
          <a:ln w="9525">
            <a:noFill/>
            <a:miter lim="800000"/>
          </a:ln>
          <a:effectLst/>
        </p:spPr>
        <p:txBody>
          <a:bodyPr wrap="none" anchor="ctr"/>
          <a:lstStyle/>
          <a:p>
            <a:pPr>
              <a:defRPr/>
            </a:pPr>
            <a:endParaRPr lang="zh-CN" altLang="en-US">
              <a:latin typeface="+mn-lt"/>
            </a:endParaRPr>
          </a:p>
        </p:txBody>
      </p:sp>
      <p:pic>
        <p:nvPicPr>
          <p:cNvPr id="1029" name="Picture 8" descr="Untitled-1 copy"/>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0825" y="382588"/>
            <a:ext cx="72072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Untitled-1 copy"/>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1550" y="765175"/>
            <a:ext cx="35877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a 拷贝"/>
          <p:cNvPicPr>
            <a:picLocks noChangeAspect="1" noChangeArrowheads="1"/>
          </p:cNvPicPr>
          <p:nvPr userDrawn="1"/>
        </p:nvPicPr>
        <p:blipFill>
          <a:blip r:embed="rId18">
            <a:clrChange>
              <a:clrFrom>
                <a:srgbClr val="FDFDFD"/>
              </a:clrFrom>
              <a:clrTo>
                <a:srgbClr val="FDFDFD">
                  <a:alpha val="0"/>
                </a:srgbClr>
              </a:clrTo>
            </a:clrChange>
            <a:extLst>
              <a:ext uri="{28A0092B-C50C-407E-A947-70E740481C1C}">
                <a14:useLocalDpi xmlns:a14="http://schemas.microsoft.com/office/drawing/2010/main" val="0"/>
              </a:ext>
            </a:extLst>
          </a:blip>
          <a:srcRect l="11267" r="30153" b="9283"/>
          <a:stretch>
            <a:fillRect/>
          </a:stretch>
        </p:blipFill>
        <p:spPr bwMode="auto">
          <a:xfrm>
            <a:off x="8101013" y="260350"/>
            <a:ext cx="1042987"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r" rtl="0" eaLnBrk="0" fontAlgn="base" hangingPunct="0">
        <a:spcBef>
          <a:spcPct val="0"/>
        </a:spcBef>
        <a:spcAft>
          <a:spcPct val="0"/>
        </a:spcAft>
        <a:defRPr sz="3200">
          <a:solidFill>
            <a:schemeClr val="bg1"/>
          </a:solidFill>
          <a:latin typeface="+mj-lt"/>
          <a:ea typeface="+mj-ea"/>
          <a:cs typeface="+mj-cs"/>
        </a:defRPr>
      </a:lvl1pPr>
      <a:lvl2pPr algn="r" rtl="0" eaLnBrk="0" fontAlgn="base" hangingPunct="0">
        <a:spcBef>
          <a:spcPct val="0"/>
        </a:spcBef>
        <a:spcAft>
          <a:spcPct val="0"/>
        </a:spcAft>
        <a:defRPr sz="3200">
          <a:solidFill>
            <a:schemeClr val="bg1"/>
          </a:solidFill>
          <a:latin typeface="Verdana" panose="020B0604030504040204" pitchFamily="34" charset="0"/>
        </a:defRPr>
      </a:lvl2pPr>
      <a:lvl3pPr algn="r" rtl="0" eaLnBrk="0" fontAlgn="base" hangingPunct="0">
        <a:spcBef>
          <a:spcPct val="0"/>
        </a:spcBef>
        <a:spcAft>
          <a:spcPct val="0"/>
        </a:spcAft>
        <a:defRPr sz="3200">
          <a:solidFill>
            <a:schemeClr val="bg1"/>
          </a:solidFill>
          <a:latin typeface="Verdana" panose="020B0604030504040204" pitchFamily="34" charset="0"/>
        </a:defRPr>
      </a:lvl3pPr>
      <a:lvl4pPr algn="r" rtl="0" eaLnBrk="0" fontAlgn="base" hangingPunct="0">
        <a:spcBef>
          <a:spcPct val="0"/>
        </a:spcBef>
        <a:spcAft>
          <a:spcPct val="0"/>
        </a:spcAft>
        <a:defRPr sz="3200">
          <a:solidFill>
            <a:schemeClr val="bg1"/>
          </a:solidFill>
          <a:latin typeface="Verdana" panose="020B0604030504040204" pitchFamily="34" charset="0"/>
        </a:defRPr>
      </a:lvl4pPr>
      <a:lvl5pPr algn="r" rtl="0" eaLnBrk="0" fontAlgn="base" hangingPunct="0">
        <a:spcBef>
          <a:spcPct val="0"/>
        </a:spcBef>
        <a:spcAft>
          <a:spcPct val="0"/>
        </a:spcAft>
        <a:defRPr sz="3200">
          <a:solidFill>
            <a:schemeClr val="bg1"/>
          </a:solidFill>
          <a:latin typeface="Verdana" panose="020B0604030504040204" pitchFamily="34" charset="0"/>
        </a:defRPr>
      </a:lvl5pPr>
      <a:lvl6pPr marL="457200" algn="r" rtl="0" fontAlgn="base">
        <a:spcBef>
          <a:spcPct val="0"/>
        </a:spcBef>
        <a:spcAft>
          <a:spcPct val="0"/>
        </a:spcAft>
        <a:defRPr sz="3200">
          <a:solidFill>
            <a:schemeClr val="bg1"/>
          </a:solidFill>
          <a:latin typeface="Verdana" panose="020B0604030504040204" pitchFamily="34" charset="0"/>
        </a:defRPr>
      </a:lvl6pPr>
      <a:lvl7pPr marL="914400" algn="r" rtl="0" fontAlgn="base">
        <a:spcBef>
          <a:spcPct val="0"/>
        </a:spcBef>
        <a:spcAft>
          <a:spcPct val="0"/>
        </a:spcAft>
        <a:defRPr sz="3200">
          <a:solidFill>
            <a:schemeClr val="bg1"/>
          </a:solidFill>
          <a:latin typeface="Verdana" panose="020B0604030504040204" pitchFamily="34" charset="0"/>
        </a:defRPr>
      </a:lvl7pPr>
      <a:lvl8pPr marL="1371600" algn="r" rtl="0" fontAlgn="base">
        <a:spcBef>
          <a:spcPct val="0"/>
        </a:spcBef>
        <a:spcAft>
          <a:spcPct val="0"/>
        </a:spcAft>
        <a:defRPr sz="3200">
          <a:solidFill>
            <a:schemeClr val="bg1"/>
          </a:solidFill>
          <a:latin typeface="Verdana" panose="020B0604030504040204" pitchFamily="34" charset="0"/>
        </a:defRPr>
      </a:lvl8pPr>
      <a:lvl9pPr marL="1828800" algn="r" rtl="0" fontAlgn="base">
        <a:spcBef>
          <a:spcPct val="0"/>
        </a:spcBef>
        <a:spcAft>
          <a:spcPct val="0"/>
        </a:spcAft>
        <a:defRPr sz="3200">
          <a:solidFill>
            <a:schemeClr val="bg1"/>
          </a:solidFill>
          <a:latin typeface="Verdana" panose="020B0604030504040204" pitchFamily="34" charset="0"/>
        </a:defRPr>
      </a:lvl9pPr>
    </p:titleStyle>
    <p:bodyStyle>
      <a:lvl1pPr marL="342900" indent="-342900" algn="l" rtl="0" eaLnBrk="0" fontAlgn="base" hangingPunct="0">
        <a:spcBef>
          <a:spcPct val="20000"/>
        </a:spcBef>
        <a:spcAft>
          <a:spcPct val="0"/>
        </a:spcAft>
        <a:buClr>
          <a:schemeClr val="tx1"/>
        </a:buClr>
        <a:buSzPct val="120000"/>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85000"/>
        <a:buFont typeface="Arial" panose="020B0604020202020204" pitchFamily="34" charset="0"/>
        <a:buChar char="–"/>
        <a:defRPr sz="2400">
          <a:solidFill>
            <a:schemeClr val="tx2"/>
          </a:solidFill>
          <a:latin typeface="+mn-lt"/>
        </a:defRPr>
      </a:lvl2pPr>
      <a:lvl3pPr marL="1143000" indent="-228600" algn="l" rtl="0" eaLnBrk="0" fontAlgn="base" hangingPunct="0">
        <a:spcBef>
          <a:spcPct val="20000"/>
        </a:spcBef>
        <a:spcAft>
          <a:spcPct val="0"/>
        </a:spcAft>
        <a:buClr>
          <a:schemeClr val="tx1"/>
        </a:buClr>
        <a:buFont typeface="Wingdings" panose="05000000000000000000" pitchFamily="2" charset="2"/>
        <a:buChar char="§"/>
        <a:defRPr sz="2400">
          <a:solidFill>
            <a:schemeClr val="tx2"/>
          </a:solidFill>
          <a:latin typeface="+mn-lt"/>
        </a:defRPr>
      </a:lvl3pPr>
      <a:lvl4pPr marL="1600200" indent="-228600" algn="l" rtl="0" eaLnBrk="0" fontAlgn="base" hangingPunct="0">
        <a:spcBef>
          <a:spcPct val="20000"/>
        </a:spcBef>
        <a:spcAft>
          <a:spcPct val="0"/>
        </a:spcAft>
        <a:buClr>
          <a:schemeClr val="tx1"/>
        </a:buClr>
        <a:buSzPct val="75000"/>
        <a:buFont typeface="Arial" panose="020B0604020202020204" pitchFamily="34" charset="0"/>
        <a:buChar char="–"/>
        <a:defRPr sz="2000">
          <a:solidFill>
            <a:schemeClr val="tx2"/>
          </a:solidFill>
          <a:latin typeface="+mn-lt"/>
        </a:defRPr>
      </a:lvl4pPr>
      <a:lvl5pPr marL="2057400" indent="-228600" algn="l" rtl="0" eaLnBrk="0" fontAlgn="base" hangingPunct="0">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5pPr>
      <a:lvl6pPr marL="25146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6pPr>
      <a:lvl7pPr marL="29718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7pPr>
      <a:lvl8pPr marL="34290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8pPr>
      <a:lvl9pPr marL="38862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9" name="椭圆 8"/>
          <p:cNvSpPr/>
          <p:nvPr>
            <p:custDataLst>
              <p:tags r:id="rId12"/>
            </p:custDataLst>
          </p:nvPr>
        </p:nvSpPr>
        <p:spPr>
          <a:xfrm flipV="1">
            <a:off x="8509021" y="1175323"/>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 name="椭圆 9"/>
          <p:cNvSpPr/>
          <p:nvPr>
            <p:custDataLst>
              <p:tags r:id="rId13"/>
            </p:custDataLst>
          </p:nvPr>
        </p:nvSpPr>
        <p:spPr>
          <a:xfrm flipV="1">
            <a:off x="8643573" y="1175323"/>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1" name="椭圆 10"/>
          <p:cNvSpPr/>
          <p:nvPr>
            <p:custDataLst>
              <p:tags r:id="rId14"/>
            </p:custDataLst>
          </p:nvPr>
        </p:nvSpPr>
        <p:spPr>
          <a:xfrm flipV="1">
            <a:off x="8778123" y="1175323"/>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 name="椭圆 11"/>
          <p:cNvSpPr/>
          <p:nvPr>
            <p:custDataLst>
              <p:tags r:id="rId15"/>
            </p:custDataLst>
          </p:nvPr>
        </p:nvSpPr>
        <p:spPr>
          <a:xfrm flipV="1">
            <a:off x="8509021" y="1308309"/>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3" name="椭圆 12"/>
          <p:cNvSpPr/>
          <p:nvPr>
            <p:custDataLst>
              <p:tags r:id="rId16"/>
            </p:custDataLst>
          </p:nvPr>
        </p:nvSpPr>
        <p:spPr>
          <a:xfrm flipV="1">
            <a:off x="8643573" y="1308309"/>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4" name="椭圆 13"/>
          <p:cNvSpPr/>
          <p:nvPr>
            <p:custDataLst>
              <p:tags r:id="rId17"/>
            </p:custDataLst>
          </p:nvPr>
        </p:nvSpPr>
        <p:spPr>
          <a:xfrm flipV="1">
            <a:off x="8778123" y="1308309"/>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5" name="椭圆 14"/>
          <p:cNvSpPr/>
          <p:nvPr>
            <p:custDataLst>
              <p:tags r:id="rId18"/>
            </p:custDataLst>
          </p:nvPr>
        </p:nvSpPr>
        <p:spPr>
          <a:xfrm flipV="1">
            <a:off x="8509021" y="1441297"/>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6" name="椭圆 15"/>
          <p:cNvSpPr/>
          <p:nvPr>
            <p:custDataLst>
              <p:tags r:id="rId19"/>
            </p:custDataLst>
          </p:nvPr>
        </p:nvSpPr>
        <p:spPr>
          <a:xfrm flipV="1">
            <a:off x="8643573" y="1441297"/>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7" name="椭圆 16"/>
          <p:cNvSpPr/>
          <p:nvPr>
            <p:custDataLst>
              <p:tags r:id="rId20"/>
            </p:custDataLst>
          </p:nvPr>
        </p:nvSpPr>
        <p:spPr>
          <a:xfrm flipV="1">
            <a:off x="8778123" y="1441297"/>
            <a:ext cx="61077" cy="610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 name="标题占位符 1"/>
          <p:cNvSpPr>
            <a:spLocks noGrp="1"/>
          </p:cNvSpPr>
          <p:nvPr userDrawn="1">
            <p:ph type="title"/>
            <p:custDataLst>
              <p:tags r:id="rId21"/>
            </p:custDataLst>
          </p:nvPr>
        </p:nvSpPr>
        <p:spPr>
          <a:xfrm>
            <a:off x="521970" y="1127250"/>
            <a:ext cx="8100000" cy="540000"/>
          </a:xfrm>
          <a:prstGeom prst="rect">
            <a:avLst/>
          </a:prstGeom>
        </p:spPr>
        <p:txBody>
          <a:bodyPr vert="horz" wrap="square" lIns="0" tIns="0" rIns="0" bIns="0" rtlCol="0" anchor="b">
            <a:normAutofit/>
          </a:bodyPr>
          <a:lstStyle/>
          <a:p>
            <a:r>
              <a:rPr lang="zh-CN" altLang="en-US" dirty="0"/>
              <a:t>单击此处编辑母版标题样式</a:t>
            </a:r>
            <a:endParaRPr lang="zh-CN" altLang="en-US" dirty="0"/>
          </a:p>
        </p:txBody>
      </p:sp>
      <p:sp>
        <p:nvSpPr>
          <p:cNvPr id="3" name="文本占位符 2"/>
          <p:cNvSpPr>
            <a:spLocks noGrp="1"/>
          </p:cNvSpPr>
          <p:nvPr userDrawn="1">
            <p:ph type="body" idx="1"/>
            <p:custDataLst>
              <p:tags r:id="rId22"/>
            </p:custDataLst>
          </p:nvPr>
        </p:nvSpPr>
        <p:spPr>
          <a:xfrm>
            <a:off x="521970" y="1833562"/>
            <a:ext cx="8100000" cy="3655219"/>
          </a:xfrm>
          <a:prstGeom prst="rect">
            <a:avLst/>
          </a:prstGeom>
        </p:spPr>
        <p:txBody>
          <a:bodyPr vert="horz" wrap="square" lIns="0" tIns="0" rIns="0" bIns="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sym typeface="+mn-ea"/>
              </a:rPr>
              <a:t>第</a:t>
            </a:r>
            <a:r>
              <a:rPr lang="zh-CN" altLang="en-US" dirty="0"/>
              <a:t>三级</a:t>
            </a:r>
            <a:endParaRPr lang="zh-CN" altLang="en-US" dirty="0"/>
          </a:p>
          <a:p>
            <a:pPr lvl="3"/>
            <a:r>
              <a:rPr lang="zh-CN" altLang="en-US" dirty="0">
                <a:sym typeface="+mn-ea"/>
              </a:rPr>
              <a:t>第</a:t>
            </a:r>
            <a:r>
              <a:rPr lang="zh-CN" altLang="en-US" dirty="0"/>
              <a:t>四级</a:t>
            </a:r>
            <a:endParaRPr lang="zh-CN" altLang="en-US" dirty="0"/>
          </a:p>
          <a:p>
            <a:pPr lvl="4"/>
            <a:r>
              <a:rPr lang="zh-CN" altLang="en-US" dirty="0">
                <a:sym typeface="+mn-ea"/>
              </a:rPr>
              <a:t>第</a:t>
            </a:r>
            <a:r>
              <a:rPr lang="zh-CN" altLang="en-US" dirty="0"/>
              <a:t>五级</a:t>
            </a:r>
            <a:endParaRPr lang="zh-CN" altLang="en-US" dirty="0"/>
          </a:p>
        </p:txBody>
      </p:sp>
      <p:sp>
        <p:nvSpPr>
          <p:cNvPr id="4" name="日期占位符 3"/>
          <p:cNvSpPr>
            <a:spLocks noGrp="1"/>
          </p:cNvSpPr>
          <p:nvPr userDrawn="1">
            <p:ph type="dt" sz="half" idx="2"/>
            <p:custDataLst>
              <p:tags r:id="rId23"/>
            </p:custDataLst>
          </p:nvPr>
        </p:nvSpPr>
        <p:spPr>
          <a:xfrm>
            <a:off x="521970" y="5624513"/>
            <a:ext cx="2057400" cy="273844"/>
          </a:xfrm>
          <a:prstGeom prst="rect">
            <a:avLst/>
          </a:prstGeom>
        </p:spPr>
        <p:txBody>
          <a:bodyPr vert="horz" wrap="square" lIns="91440" tIns="45720" rIns="91440" bIns="45720" rtlCol="0" anchor="ctr">
            <a:normAutofit/>
          </a:bodyPr>
          <a:lstStyle>
            <a:lvl1pPr algn="l">
              <a:defRPr sz="900">
                <a:solidFill>
                  <a:schemeClr val="tx1">
                    <a:tint val="75000"/>
                  </a:schemeClr>
                </a:solidFill>
              </a:defRPr>
            </a:lvl1pPr>
          </a:lstStyle>
          <a:p>
            <a:fld id="{5592522B-0F24-4480-B9DD-A9474A6880D6}" type="datetimeFigureOut">
              <a:rPr lang="zh-CN" altLang="en-US" smtClean="0"/>
            </a:fld>
            <a:endParaRPr lang="zh-CN" altLang="en-US"/>
          </a:p>
        </p:txBody>
      </p:sp>
      <p:sp>
        <p:nvSpPr>
          <p:cNvPr id="5" name="页脚占位符 4"/>
          <p:cNvSpPr>
            <a:spLocks noGrp="1"/>
          </p:cNvSpPr>
          <p:nvPr userDrawn="1">
            <p:ph type="ftr" sz="quarter" idx="3"/>
            <p:custDataLst>
              <p:tags r:id="rId24"/>
            </p:custDataLst>
          </p:nvPr>
        </p:nvSpPr>
        <p:spPr>
          <a:xfrm>
            <a:off x="3028950" y="5624513"/>
            <a:ext cx="3086100" cy="273844"/>
          </a:xfrm>
          <a:prstGeom prst="rect">
            <a:avLst/>
          </a:prstGeom>
        </p:spPr>
        <p:txBody>
          <a:bodyPr vert="horz" lIns="91440" tIns="45720" rIns="91440" bIns="45720" rtlCol="0" anchor="ctr">
            <a:normAutofit/>
          </a:bodyPr>
          <a:lstStyle>
            <a:lvl1pPr algn="ctr">
              <a:defRPr sz="900">
                <a:solidFill>
                  <a:schemeClr val="tx1">
                    <a:tint val="75000"/>
                  </a:schemeClr>
                </a:solidFill>
              </a:defRPr>
            </a:lvl1pPr>
          </a:lstStyle>
          <a:p>
            <a:endParaRPr lang="zh-CN" altLang="en-US" dirty="0"/>
          </a:p>
        </p:txBody>
      </p:sp>
      <p:sp>
        <p:nvSpPr>
          <p:cNvPr id="6" name="灯片编号占位符 5"/>
          <p:cNvSpPr>
            <a:spLocks noGrp="1"/>
          </p:cNvSpPr>
          <p:nvPr userDrawn="1">
            <p:ph type="sldNum" sz="quarter" idx="4"/>
            <p:custDataLst>
              <p:tags r:id="rId25"/>
            </p:custDataLst>
          </p:nvPr>
        </p:nvSpPr>
        <p:spPr>
          <a:xfrm>
            <a:off x="6565487" y="5624513"/>
            <a:ext cx="2057400" cy="273844"/>
          </a:xfrm>
          <a:prstGeom prst="rect">
            <a:avLst/>
          </a:prstGeom>
        </p:spPr>
        <p:txBody>
          <a:bodyPr vert="horz" wrap="square" lIns="91440" tIns="45720" rIns="91440" bIns="45720" rtlCol="0" anchor="ctr">
            <a:normAutofit/>
          </a:bodyPr>
          <a:lstStyle>
            <a:lvl1pPr algn="r">
              <a:defRPr sz="900">
                <a:solidFill>
                  <a:schemeClr val="tx1">
                    <a:tint val="75000"/>
                  </a:schemeClr>
                </a:solidFill>
              </a:defRPr>
            </a:lvl1pPr>
          </a:lstStyle>
          <a:p>
            <a:fld id="{BE5F26B5-172A-4DC2-B0B7-181CFC56B87C}" type="slidenum">
              <a:rPr lang="zh-CN" altLang="en-US" smtClean="0"/>
            </a:fld>
            <a:endParaRPr lang="zh-CN" altLang="en-US"/>
          </a:p>
        </p:txBody>
      </p:sp>
      <p:sp>
        <p:nvSpPr>
          <p:cNvPr id="8" name="KSO_TEMPLATE" hidden="1"/>
          <p:cNvSpPr/>
          <p:nvPr userDrawn="1">
            <p:custDataLst>
              <p:tags r:id="rId26"/>
            </p:custDataLst>
          </p:nvPr>
        </p:nvSpPr>
        <p:spPr>
          <a:xfrm>
            <a:off x="0" y="85725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l" defTabSz="685800" rtl="0" eaLnBrk="1" latinLnBrk="0" hangingPunct="1">
        <a:lnSpc>
          <a:spcPct val="100000"/>
        </a:lnSpc>
        <a:spcBef>
          <a:spcPct val="0"/>
        </a:spcBef>
        <a:buNone/>
        <a:defRPr sz="2400" b="1" kern="1200">
          <a:gradFill>
            <a:gsLst>
              <a:gs pos="100000">
                <a:schemeClr val="accent2"/>
              </a:gs>
              <a:gs pos="15000">
                <a:schemeClr val="accent1">
                  <a:lumMod val="90000"/>
                  <a:lumOff val="10000"/>
                </a:schemeClr>
              </a:gs>
            </a:gsLst>
            <a:lin ang="2700000" scaled="0"/>
          </a:gradFill>
          <a:latin typeface="+mj-lt"/>
          <a:ea typeface="+mj-ea"/>
          <a:cs typeface="+mj-cs"/>
        </a:defRPr>
      </a:lvl1pPr>
    </p:titleStyle>
    <p:bodyStyle>
      <a:lvl1pPr marL="171450" indent="-171450" algn="l" defTabSz="685800" rtl="0" eaLnBrk="1" latinLnBrk="0" hangingPunct="1">
        <a:lnSpc>
          <a:spcPct val="130000"/>
        </a:lnSpc>
        <a:spcBef>
          <a:spcPts val="750"/>
        </a:spcBef>
        <a:buFont typeface="Arial" panose="020B0604020202020204" pitchFamily="34" charset="0"/>
        <a:buChar char="•"/>
        <a:defRPr sz="1800" kern="1200">
          <a:solidFill>
            <a:schemeClr val="tx1"/>
          </a:solidFill>
          <a:latin typeface="+mn-lt"/>
          <a:ea typeface="+mn-ea"/>
          <a:cs typeface="+mn-cs"/>
        </a:defRPr>
      </a:lvl1pPr>
      <a:lvl2pPr marL="403860" indent="-154940" algn="l" defTabSz="685800" rtl="0" eaLnBrk="1" latinLnBrk="0" hangingPunct="1">
        <a:lnSpc>
          <a:spcPct val="130000"/>
        </a:lnSpc>
        <a:spcBef>
          <a:spcPts val="0"/>
        </a:spcBef>
        <a:buFont typeface="Arial" panose="020B0604020202020204" pitchFamily="34" charset="0"/>
        <a:buChar char="•"/>
        <a:defRPr sz="1500" kern="1200">
          <a:solidFill>
            <a:schemeClr val="tx1">
              <a:lumMod val="65000"/>
              <a:lumOff val="35000"/>
            </a:schemeClr>
          </a:solidFill>
          <a:latin typeface="+mn-lt"/>
          <a:ea typeface="+mn-ea"/>
          <a:cs typeface="+mn-cs"/>
        </a:defRPr>
      </a:lvl2pPr>
      <a:lvl3pPr marL="599440" indent="-121285" algn="l" defTabSz="685800" rtl="0" eaLnBrk="1" latinLnBrk="0" hangingPunct="1">
        <a:lnSpc>
          <a:spcPct val="130000"/>
        </a:lnSpc>
        <a:spcBef>
          <a:spcPts val="0"/>
        </a:spcBef>
        <a:buFont typeface="Arial" panose="020B0604020202020204" pitchFamily="34" charset="0"/>
        <a:buChar char="•"/>
        <a:defRPr sz="1350" kern="1200">
          <a:solidFill>
            <a:schemeClr val="tx1">
              <a:lumMod val="65000"/>
              <a:lumOff val="35000"/>
            </a:schemeClr>
          </a:solidFill>
          <a:latin typeface="+mn-lt"/>
          <a:ea typeface="+mn-ea"/>
          <a:cs typeface="+mn-cs"/>
        </a:defRPr>
      </a:lvl3pPr>
      <a:lvl4pPr marL="772795" indent="-111760" algn="l" defTabSz="685800" rtl="0" eaLnBrk="1" latinLnBrk="0" hangingPunct="1">
        <a:lnSpc>
          <a:spcPct val="130000"/>
        </a:lnSpc>
        <a:spcBef>
          <a:spcPts val="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926465" indent="-95250" algn="l" defTabSz="685800" rtl="0" eaLnBrk="1" latinLnBrk="0" hangingPunct="1">
        <a:lnSpc>
          <a:spcPct val="130000"/>
        </a:lnSpc>
        <a:spcBef>
          <a:spcPts val="0"/>
        </a:spcBef>
        <a:buFont typeface="Arial" panose="020B0604020202020204" pitchFamily="34" charset="0"/>
        <a:buChar char="•"/>
        <a:defRPr sz="1050" kern="1200">
          <a:solidFill>
            <a:schemeClr val="tx1">
              <a:lumMod val="65000"/>
              <a:lumOff val="3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矩形 8"/>
          <p:cNvSpPr/>
          <p:nvPr userDrawn="1">
            <p:custDataLst>
              <p:tags r:id="rId2"/>
            </p:custDataLst>
          </p:nvPr>
        </p:nvSpPr>
        <p:spPr>
          <a:xfrm>
            <a:off x="0" y="857250"/>
            <a:ext cx="9140190" cy="5143024"/>
          </a:xfrm>
          <a:prstGeom prst="rect">
            <a:avLst/>
          </a:prstGeom>
          <a:gradFill>
            <a:gsLst>
              <a:gs pos="0">
                <a:schemeClr val="accent1">
                  <a:lumMod val="15000"/>
                </a:schemeClr>
              </a:gs>
              <a:gs pos="100000">
                <a:schemeClr val="accent1">
                  <a:lumMod val="15000"/>
                </a:schemeClr>
              </a:gs>
            </a:gsLst>
            <a:lin ang="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1350"/>
          </a:p>
        </p:txBody>
      </p:sp>
      <p:sp>
        <p:nvSpPr>
          <p:cNvPr id="2" name="标题占位符 1"/>
          <p:cNvSpPr>
            <a:spLocks noGrp="1"/>
          </p:cNvSpPr>
          <p:nvPr>
            <p:ph type="title"/>
            <p:custDataLst>
              <p:tags r:id="rId3"/>
            </p:custDataLst>
          </p:nvPr>
        </p:nvSpPr>
        <p:spPr>
          <a:xfrm>
            <a:off x="521970" y="1127250"/>
            <a:ext cx="8100000" cy="540000"/>
          </a:xfrm>
          <a:prstGeom prst="rect">
            <a:avLst/>
          </a:prstGeom>
          <a:noFill/>
        </p:spPr>
        <p:txBody>
          <a:bodyPr vert="horz" wrap="square" lIns="0" tIns="0" rIns="0" bIns="0" rtlCol="0" anchor="b">
            <a:normAutofit/>
          </a:bodyPr>
          <a:lstStyle/>
          <a:p>
            <a:pPr lvl="0"/>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521970" y="1833562"/>
            <a:ext cx="8100000" cy="3655219"/>
          </a:xfrm>
          <a:prstGeom prst="rect">
            <a:avLst/>
          </a:prstGeom>
          <a:noFill/>
        </p:spPr>
        <p:txBody>
          <a:bodyPr vert="horz" wrap="square" lIns="0" tIns="0" rIns="0" bIns="0" rtlCol="0" anchor="t">
            <a:normAutofit/>
          </a:bodyPr>
          <a:lstStyle/>
          <a:p>
            <a:pPr lvl="0"/>
            <a:r>
              <a:rPr lang="zh-CN" altLang="en-US" dirty="0"/>
              <a:t>单击此处编辑母版文本样式</a:t>
            </a:r>
            <a:endParaRPr lang="zh-CN" altLang="en-US" dirty="0"/>
          </a:p>
          <a:p>
            <a:pPr lvl="1"/>
            <a:r>
              <a:rPr lang="zh-CN" altLang="en-US" dirty="0"/>
              <a:t>二级</a:t>
            </a:r>
            <a:endParaRPr lang="zh-CN" altLang="en-US" dirty="0"/>
          </a:p>
          <a:p>
            <a:pPr lvl="2"/>
            <a:r>
              <a:rPr lang="zh-CN" altLang="en-US" dirty="0"/>
              <a:t>三级</a:t>
            </a:r>
            <a:endParaRPr lang="zh-CN" altLang="en-US" dirty="0"/>
          </a:p>
          <a:p>
            <a:pPr lvl="3"/>
            <a:r>
              <a:rPr lang="zh-CN" altLang="en-US" dirty="0"/>
              <a:t>四级</a:t>
            </a:r>
            <a:endParaRPr lang="zh-CN" altLang="en-US" dirty="0"/>
          </a:p>
          <a:p>
            <a:pPr lvl="4"/>
            <a:r>
              <a:rPr lang="zh-CN" altLang="en-US" dirty="0"/>
              <a:t>五级</a:t>
            </a:r>
            <a:endParaRPr lang="zh-CN" altLang="en-US" dirty="0"/>
          </a:p>
        </p:txBody>
      </p:sp>
      <p:sp>
        <p:nvSpPr>
          <p:cNvPr id="4" name="日期占位符 3"/>
          <p:cNvSpPr>
            <a:spLocks noGrp="1"/>
          </p:cNvSpPr>
          <p:nvPr>
            <p:ph type="dt" sz="half" idx="2"/>
            <p:custDataLst>
              <p:tags r:id="rId5"/>
            </p:custDataLst>
          </p:nvPr>
        </p:nvSpPr>
        <p:spPr>
          <a:xfrm>
            <a:off x="521970" y="5624513"/>
            <a:ext cx="2057400" cy="273844"/>
          </a:xfrm>
          <a:prstGeom prst="rect">
            <a:avLst/>
          </a:prstGeom>
        </p:spPr>
        <p:txBody>
          <a:bodyPr vert="horz" wrap="square" lIns="91440" tIns="45720" rIns="91440" bIns="45720" rtlCol="0" anchor="ctr">
            <a:normAutofit/>
          </a:bodyPr>
          <a:lstStyle>
            <a:lvl1pPr algn="l">
              <a:defRPr sz="900">
                <a:solidFill>
                  <a:schemeClr val="tx1">
                    <a:tint val="75000"/>
                  </a:schemeClr>
                </a:solidFill>
              </a:defRPr>
            </a:lvl1pPr>
          </a:lstStyle>
          <a:p>
            <a:fld id="{5592522B-0F24-4480-B9DD-A9474A6880D6}" type="datetimeFigureOut">
              <a:rPr lang="zh-CN" altLang="en-US" smtClean="0"/>
            </a:fld>
            <a:endParaRPr lang="zh-CN" altLang="en-US"/>
          </a:p>
        </p:txBody>
      </p:sp>
      <p:sp>
        <p:nvSpPr>
          <p:cNvPr id="5" name="页脚占位符 4"/>
          <p:cNvSpPr>
            <a:spLocks noGrp="1"/>
          </p:cNvSpPr>
          <p:nvPr>
            <p:ph type="ftr" sz="quarter" idx="3"/>
            <p:custDataLst>
              <p:tags r:id="rId6"/>
            </p:custDataLst>
          </p:nvPr>
        </p:nvSpPr>
        <p:spPr>
          <a:xfrm>
            <a:off x="3028950" y="5624513"/>
            <a:ext cx="3086100" cy="273844"/>
          </a:xfrm>
          <a:prstGeom prst="rect">
            <a:avLst/>
          </a:prstGeom>
        </p:spPr>
        <p:txBody>
          <a:bodyPr vert="horz" lIns="91440" tIns="45720" rIns="91440" bIns="45720" rtlCol="0" anchor="ctr">
            <a:normAutofit/>
          </a:bodyPr>
          <a:lstStyle>
            <a:lvl1pPr algn="ctr">
              <a:defRPr sz="900">
                <a:solidFill>
                  <a:schemeClr val="tx1">
                    <a:tint val="75000"/>
                  </a:schemeClr>
                </a:solidFill>
              </a:defRPr>
            </a:lvl1pPr>
          </a:lstStyle>
          <a:p>
            <a:endParaRPr lang="zh-CN" altLang="en-US"/>
          </a:p>
        </p:txBody>
      </p:sp>
      <p:sp>
        <p:nvSpPr>
          <p:cNvPr id="6" name="灯片编号占位符 5"/>
          <p:cNvSpPr>
            <a:spLocks noGrp="1"/>
          </p:cNvSpPr>
          <p:nvPr>
            <p:ph type="sldNum" sz="quarter" idx="4"/>
            <p:custDataLst>
              <p:tags r:id="rId7"/>
            </p:custDataLst>
          </p:nvPr>
        </p:nvSpPr>
        <p:spPr>
          <a:xfrm>
            <a:off x="6565487" y="5624513"/>
            <a:ext cx="2057400" cy="273844"/>
          </a:xfrm>
          <a:prstGeom prst="rect">
            <a:avLst/>
          </a:prstGeom>
        </p:spPr>
        <p:txBody>
          <a:bodyPr vert="horz" wrap="square" lIns="91440" tIns="45720" rIns="91440" bIns="45720" rtlCol="0" anchor="ctr">
            <a:normAutofit/>
          </a:bodyPr>
          <a:lstStyle>
            <a:lvl1pPr algn="r">
              <a:defRPr sz="900">
                <a:solidFill>
                  <a:schemeClr val="tx1">
                    <a:tint val="75000"/>
                  </a:schemeClr>
                </a:solidFill>
              </a:defRPr>
            </a:lvl1pPr>
          </a:lstStyle>
          <a:p>
            <a:fld id="{BE5F26B5-172A-4DC2-B0B7-181CFC56B87C}" type="slidenum">
              <a:rPr lang="zh-CN" altLang="en-US" smtClean="0"/>
            </a:fld>
            <a:endParaRPr lang="zh-CN" altLang="en-US"/>
          </a:p>
        </p:txBody>
      </p:sp>
      <p:pic>
        <p:nvPicPr>
          <p:cNvPr id="7" name="图片 6"/>
          <p:cNvPicPr>
            <a:picLocks noChangeAspect="1"/>
          </p:cNvPicPr>
          <p:nvPr userDrawn="1">
            <p:custDataLst>
              <p:tags r:id="rId8"/>
            </p:custDataLst>
          </p:nvPr>
        </p:nvPicPr>
        <p:blipFill>
          <a:blip r:embed="rId9">
            <a:extLst>
              <a:ext uri="{28A0092B-C50C-407E-A947-70E740481C1C}">
                <a14:useLocalDpi xmlns:a14="http://schemas.microsoft.com/office/drawing/2010/main" val="0"/>
              </a:ext>
            </a:extLst>
          </a:blip>
          <a:srcRect t="40667" r="36" b="26259"/>
          <a:stretch>
            <a:fillRect/>
          </a:stretch>
        </p:blipFill>
        <p:spPr>
          <a:xfrm>
            <a:off x="0" y="4299585"/>
            <a:ext cx="9140666" cy="1701165"/>
          </a:xfrm>
          <a:custGeom>
            <a:avLst/>
            <a:gdLst/>
            <a:ahLst/>
            <a:cxnLst>
              <a:cxn ang="3">
                <a:pos x="hc" y="t"/>
              </a:cxn>
              <a:cxn ang="cd2">
                <a:pos x="l" y="vc"/>
              </a:cxn>
              <a:cxn ang="cd4">
                <a:pos x="hc" y="b"/>
              </a:cxn>
              <a:cxn ang="0">
                <a:pos x="r" y="vc"/>
              </a:cxn>
            </a:cxnLst>
            <a:rect l="l" t="t" r="r" b="b"/>
            <a:pathLst>
              <a:path w="19193" h="3572">
                <a:moveTo>
                  <a:pt x="0" y="0"/>
                </a:moveTo>
                <a:lnTo>
                  <a:pt x="19193" y="0"/>
                </a:lnTo>
                <a:lnTo>
                  <a:pt x="19193" y="3572"/>
                </a:lnTo>
                <a:lnTo>
                  <a:pt x="0" y="3572"/>
                </a:lnTo>
                <a:lnTo>
                  <a:pt x="0" y="0"/>
                </a:lnTo>
                <a:close/>
              </a:path>
            </a:pathLst>
          </a:custGeom>
        </p:spPr>
      </p:pic>
      <p:pic>
        <p:nvPicPr>
          <p:cNvPr id="10" name="图片 9"/>
          <p:cNvPicPr>
            <a:picLocks noChangeAspect="1"/>
          </p:cNvPicPr>
          <p:nvPr userDrawn="1">
            <p:custDataLst>
              <p:tags r:id="rId10"/>
            </p:custDataLst>
          </p:nvPr>
        </p:nvPicPr>
        <p:blipFill>
          <a:blip r:embed="rId11">
            <a:alphaModFix amt="40000"/>
            <a:duotone>
              <a:prstClr val="black"/>
              <a:schemeClr val="accent3">
                <a:tint val="45000"/>
                <a:satMod val="400000"/>
              </a:schemeClr>
            </a:duotone>
            <a:lum bright="12000" contrast="48000"/>
            <a:extLst>
              <a:ext uri="{28A0092B-C50C-407E-A947-70E740481C1C}">
                <a14:useLocalDpi xmlns:a14="http://schemas.microsoft.com/office/drawing/2010/main" val="0"/>
              </a:ext>
            </a:extLst>
          </a:blip>
          <a:srcRect l="32" t="40669" r="4" b="26257"/>
          <a:stretch>
            <a:fillRect/>
          </a:stretch>
        </p:blipFill>
        <p:spPr>
          <a:xfrm>
            <a:off x="0" y="4299585"/>
            <a:ext cx="9140666" cy="1701165"/>
          </a:xfrm>
          <a:custGeom>
            <a:avLst/>
            <a:gdLst/>
            <a:ahLst/>
            <a:cxnLst>
              <a:cxn ang="3">
                <a:pos x="hc" y="t"/>
              </a:cxn>
              <a:cxn ang="cd2">
                <a:pos x="l" y="vc"/>
              </a:cxn>
              <a:cxn ang="cd4">
                <a:pos x="hc" y="b"/>
              </a:cxn>
              <a:cxn ang="0">
                <a:pos x="r" y="vc"/>
              </a:cxn>
            </a:cxnLst>
            <a:rect l="l" t="t" r="r" b="b"/>
            <a:pathLst>
              <a:path w="19193" h="3572">
                <a:moveTo>
                  <a:pt x="0" y="0"/>
                </a:moveTo>
                <a:lnTo>
                  <a:pt x="19193" y="0"/>
                </a:lnTo>
                <a:lnTo>
                  <a:pt x="19193" y="3572"/>
                </a:lnTo>
                <a:lnTo>
                  <a:pt x="0" y="3572"/>
                </a:lnTo>
                <a:lnTo>
                  <a:pt x="0" y="0"/>
                </a:lnTo>
                <a:close/>
              </a:path>
            </a:pathLst>
          </a:custGeom>
        </p:spPr>
      </p:pic>
      <p:sp>
        <p:nvSpPr>
          <p:cNvPr id="11" name="KSO_TEMPLATE" hidden="1"/>
          <p:cNvSpPr/>
          <p:nvPr userDrawn="1">
            <p:custDataLst>
              <p:tags r:id="rId12"/>
            </p:custDataLst>
          </p:nvPr>
        </p:nvSpPr>
        <p:spPr>
          <a:xfrm>
            <a:off x="0" y="85725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 bg1="dk1" tx1="lt1" bg2="dk2" tx2="lt2" accent1="accent1" accent2="accent2" accent3="accent3" accent4="accent4" accent5="accent5" accent6="accent6" hlink="hlink" folHlink="folHlink"/>
  <p:sldLayoutIdLst>
    <p:sldLayoutId id="2147483677" r:id="rId1"/>
  </p:sldLayoutIdLst>
  <p:txStyles>
    <p:titleStyle>
      <a:lvl1pPr algn="l" defTabSz="685800" rtl="0" eaLnBrk="1" latinLnBrk="0" hangingPunct="1">
        <a:lnSpc>
          <a:spcPct val="100000"/>
        </a:lnSpc>
        <a:spcBef>
          <a:spcPct val="0"/>
        </a:spcBef>
        <a:buNone/>
        <a:defRPr lang="zh-CN" altLang="en-US" sz="2400" b="1" kern="1200" dirty="0">
          <a:solidFill>
            <a:schemeClr val="lt1">
              <a:lumMod val="100000"/>
            </a:schemeClr>
          </a:solidFill>
          <a:latin typeface="+mj-ea"/>
          <a:ea typeface="+mj-ea"/>
          <a:cs typeface="+mj-cs"/>
        </a:defRPr>
      </a:lvl1pPr>
    </p:titleStyle>
    <p:bodyStyle>
      <a:lvl1pPr marL="171450" indent="-171450" algn="l" defTabSz="685800" rtl="0" eaLnBrk="1" latinLnBrk="0" hangingPunct="1">
        <a:lnSpc>
          <a:spcPct val="130000"/>
        </a:lnSpc>
        <a:spcBef>
          <a:spcPts val="750"/>
        </a:spcBef>
        <a:buFont typeface="Arial" panose="020B0604020202020204" pitchFamily="34" charset="0"/>
        <a:buChar char="•"/>
        <a:defRPr sz="1500" b="0" kern="1200">
          <a:solidFill>
            <a:schemeClr val="lt1">
              <a:lumMod val="100000"/>
            </a:schemeClr>
          </a:solidFill>
          <a:latin typeface="+mn-ea"/>
          <a:ea typeface="+mn-ea"/>
          <a:cs typeface="+mn-cs"/>
        </a:defRPr>
      </a:lvl1pPr>
      <a:lvl2pPr marL="403860" indent="-154940" algn="l" defTabSz="685800" rtl="0" eaLnBrk="1" latinLnBrk="0" hangingPunct="1">
        <a:lnSpc>
          <a:spcPct val="130000"/>
        </a:lnSpc>
        <a:spcBef>
          <a:spcPts val="0"/>
        </a:spcBef>
        <a:buFont typeface="Arial" panose="020B0604020202020204" pitchFamily="34" charset="0"/>
        <a:buChar char="•"/>
        <a:defRPr sz="1350" b="0" kern="1200">
          <a:solidFill>
            <a:schemeClr val="lt1">
              <a:lumMod val="100000"/>
            </a:schemeClr>
          </a:solidFill>
          <a:latin typeface="+mn-ea"/>
          <a:ea typeface="+mn-ea"/>
          <a:cs typeface="+mn-cs"/>
        </a:defRPr>
      </a:lvl2pPr>
      <a:lvl3pPr marL="599440" indent="-121285" algn="l" defTabSz="685800" rtl="0" eaLnBrk="1" latinLnBrk="0" hangingPunct="1">
        <a:lnSpc>
          <a:spcPct val="130000"/>
        </a:lnSpc>
        <a:spcBef>
          <a:spcPts val="0"/>
        </a:spcBef>
        <a:buFont typeface="Arial" panose="020B0604020202020204" pitchFamily="34" charset="0"/>
        <a:buChar char="•"/>
        <a:defRPr sz="1200" b="0" kern="1200">
          <a:solidFill>
            <a:schemeClr val="lt1">
              <a:lumMod val="100000"/>
            </a:schemeClr>
          </a:solidFill>
          <a:latin typeface="+mn-ea"/>
          <a:ea typeface="+mn-ea"/>
          <a:cs typeface="+mn-cs"/>
        </a:defRPr>
      </a:lvl3pPr>
      <a:lvl4pPr marL="772795" indent="-111760" algn="l" defTabSz="685800" rtl="0" eaLnBrk="1" latinLnBrk="0" hangingPunct="1">
        <a:lnSpc>
          <a:spcPct val="130000"/>
        </a:lnSpc>
        <a:spcBef>
          <a:spcPts val="0"/>
        </a:spcBef>
        <a:buFont typeface="Arial" panose="020B0604020202020204" pitchFamily="34" charset="0"/>
        <a:buChar char="•"/>
        <a:defRPr sz="1050" b="0" kern="1200">
          <a:solidFill>
            <a:schemeClr val="lt1">
              <a:lumMod val="100000"/>
            </a:schemeClr>
          </a:solidFill>
          <a:latin typeface="+mn-ea"/>
          <a:ea typeface="+mn-ea"/>
          <a:cs typeface="+mn-cs"/>
        </a:defRPr>
      </a:lvl4pPr>
      <a:lvl5pPr marL="926465" indent="-95250" algn="l" defTabSz="685800" rtl="0" eaLnBrk="1" latinLnBrk="0" hangingPunct="1">
        <a:lnSpc>
          <a:spcPct val="130000"/>
        </a:lnSpc>
        <a:spcBef>
          <a:spcPts val="0"/>
        </a:spcBef>
        <a:buFont typeface="Arial" panose="020B0604020202020204" pitchFamily="34" charset="0"/>
        <a:buChar char="•"/>
        <a:defRPr sz="900" b="0" kern="1200">
          <a:solidFill>
            <a:schemeClr val="lt1">
              <a:lumMod val="100000"/>
            </a:schemeClr>
          </a:solidFill>
          <a:latin typeface="+mn-ea"/>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6.xml"/><Relationship Id="rId4" Type="http://schemas.openxmlformats.org/officeDocument/2006/relationships/tags" Target="../tags/tag118.xml"/><Relationship Id="rId3" Type="http://schemas.openxmlformats.org/officeDocument/2006/relationships/image" Target="../media/image14.jpeg"/><Relationship Id="rId2" Type="http://schemas.openxmlformats.org/officeDocument/2006/relationships/tags" Target="../tags/tag117.xml"/><Relationship Id="rId1" Type="http://schemas.openxmlformats.org/officeDocument/2006/relationships/tags" Target="../tags/tag116.xml"/></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tags" Target="../tags/tag18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17.xml"/><Relationship Id="rId6" Type="http://schemas.openxmlformats.org/officeDocument/2006/relationships/tags" Target="../tags/tag194.xml"/><Relationship Id="rId5" Type="http://schemas.openxmlformats.org/officeDocument/2006/relationships/tags" Target="../tags/tag193.xml"/><Relationship Id="rId4" Type="http://schemas.openxmlformats.org/officeDocument/2006/relationships/image" Target="../media/image39.png"/><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s>
</file>

<file path=ppt/slides/_rels/slide12.xml.rels><?xml version="1.0" encoding="UTF-8" standalone="yes"?>
<Relationships xmlns="http://schemas.openxmlformats.org/package/2006/relationships"><Relationship Id="rId9" Type="http://schemas.openxmlformats.org/officeDocument/2006/relationships/tags" Target="../tags/tag201.xml"/><Relationship Id="rId8" Type="http://schemas.openxmlformats.org/officeDocument/2006/relationships/tags" Target="../tags/tag200.xml"/><Relationship Id="rId7" Type="http://schemas.openxmlformats.org/officeDocument/2006/relationships/tags" Target="../tags/tag199.xml"/><Relationship Id="rId6" Type="http://schemas.openxmlformats.org/officeDocument/2006/relationships/tags" Target="../tags/tag198.xml"/><Relationship Id="rId5" Type="http://schemas.openxmlformats.org/officeDocument/2006/relationships/image" Target="../media/image41.jpeg"/><Relationship Id="rId4" Type="http://schemas.openxmlformats.org/officeDocument/2006/relationships/tags" Target="../tags/tag197.xml"/><Relationship Id="rId3" Type="http://schemas.openxmlformats.org/officeDocument/2006/relationships/image" Target="../media/image40.jpeg"/><Relationship Id="rId2" Type="http://schemas.openxmlformats.org/officeDocument/2006/relationships/tags" Target="../tags/tag196.xml"/><Relationship Id="rId11" Type="http://schemas.openxmlformats.org/officeDocument/2006/relationships/notesSlide" Target="../notesSlides/notesSlide6.xml"/><Relationship Id="rId10" Type="http://schemas.openxmlformats.org/officeDocument/2006/relationships/slideLayout" Target="../slideLayouts/slideLayout17.xml"/><Relationship Id="rId1" Type="http://schemas.openxmlformats.org/officeDocument/2006/relationships/tags" Target="../tags/tag195.xml"/></Relationships>
</file>

<file path=ppt/slides/_rels/slide13.xml.rels><?xml version="1.0" encoding="UTF-8" standalone="yes"?>
<Relationships xmlns="http://schemas.openxmlformats.org/package/2006/relationships"><Relationship Id="rId9" Type="http://schemas.openxmlformats.org/officeDocument/2006/relationships/image" Target="../media/image45.png"/><Relationship Id="rId8" Type="http://schemas.openxmlformats.org/officeDocument/2006/relationships/tags" Target="../tags/tag206.xml"/><Relationship Id="rId7" Type="http://schemas.openxmlformats.org/officeDocument/2006/relationships/image" Target="../media/image44.png"/><Relationship Id="rId6" Type="http://schemas.openxmlformats.org/officeDocument/2006/relationships/tags" Target="../tags/tag205.xml"/><Relationship Id="rId5" Type="http://schemas.openxmlformats.org/officeDocument/2006/relationships/image" Target="../media/image43.png"/><Relationship Id="rId4" Type="http://schemas.openxmlformats.org/officeDocument/2006/relationships/tags" Target="../tags/tag204.xml"/><Relationship Id="rId3" Type="http://schemas.openxmlformats.org/officeDocument/2006/relationships/image" Target="../media/image42.png"/><Relationship Id="rId23" Type="http://schemas.openxmlformats.org/officeDocument/2006/relationships/notesSlide" Target="../notesSlides/notesSlide7.xml"/><Relationship Id="rId22" Type="http://schemas.openxmlformats.org/officeDocument/2006/relationships/slideLayout" Target="../slideLayouts/slideLayout22.xml"/><Relationship Id="rId21" Type="http://schemas.openxmlformats.org/officeDocument/2006/relationships/tags" Target="../tags/tag213.xml"/><Relationship Id="rId20" Type="http://schemas.openxmlformats.org/officeDocument/2006/relationships/tags" Target="../tags/tag212.xml"/><Relationship Id="rId2" Type="http://schemas.openxmlformats.org/officeDocument/2006/relationships/tags" Target="../tags/tag203.xml"/><Relationship Id="rId19" Type="http://schemas.openxmlformats.org/officeDocument/2006/relationships/image" Target="../media/image50.png"/><Relationship Id="rId18" Type="http://schemas.openxmlformats.org/officeDocument/2006/relationships/tags" Target="../tags/tag211.xml"/><Relationship Id="rId17" Type="http://schemas.openxmlformats.org/officeDocument/2006/relationships/image" Target="../media/image49.png"/><Relationship Id="rId16" Type="http://schemas.openxmlformats.org/officeDocument/2006/relationships/tags" Target="../tags/tag210.xml"/><Relationship Id="rId15" Type="http://schemas.openxmlformats.org/officeDocument/2006/relationships/image" Target="../media/image48.png"/><Relationship Id="rId14" Type="http://schemas.openxmlformats.org/officeDocument/2006/relationships/tags" Target="../tags/tag209.xml"/><Relationship Id="rId13" Type="http://schemas.openxmlformats.org/officeDocument/2006/relationships/image" Target="../media/image47.png"/><Relationship Id="rId12" Type="http://schemas.openxmlformats.org/officeDocument/2006/relationships/tags" Target="../tags/tag208.xml"/><Relationship Id="rId11" Type="http://schemas.openxmlformats.org/officeDocument/2006/relationships/image" Target="../media/image46.png"/><Relationship Id="rId10" Type="http://schemas.openxmlformats.org/officeDocument/2006/relationships/tags" Target="../tags/tag207.xml"/><Relationship Id="rId1" Type="http://schemas.openxmlformats.org/officeDocument/2006/relationships/tags" Target="../tags/tag202.xml"/></Relationships>
</file>

<file path=ppt/slides/_rels/slide14.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tags" Target="../tags/tag216.xml"/><Relationship Id="rId7" Type="http://schemas.openxmlformats.org/officeDocument/2006/relationships/tags" Target="../tags/tag2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tags" Target="../tags/tag214.xml"/></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17.xml"/><Relationship Id="rId2" Type="http://schemas.openxmlformats.org/officeDocument/2006/relationships/tags" Target="../tags/tag217.xml"/><Relationship Id="rId1" Type="http://schemas.openxmlformats.org/officeDocument/2006/relationships/image" Target="../media/image51.png"/></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22.xml"/><Relationship Id="rId4" Type="http://schemas.openxmlformats.org/officeDocument/2006/relationships/tags" Target="../tags/tag220.xml"/><Relationship Id="rId3" Type="http://schemas.openxmlformats.org/officeDocument/2006/relationships/tags" Target="../tags/tag219.xml"/><Relationship Id="rId2" Type="http://schemas.openxmlformats.org/officeDocument/2006/relationships/image" Target="../media/image52.png"/><Relationship Id="rId1" Type="http://schemas.openxmlformats.org/officeDocument/2006/relationships/tags" Target="../tags/tag21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53.jpe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54.png"/></Relationships>
</file>

<file path=ppt/slides/_rels/slide19.xml.rels><?xml version="1.0" encoding="UTF-8" standalone="yes"?>
<Relationships xmlns="http://schemas.openxmlformats.org/package/2006/relationships"><Relationship Id="rId5" Type="http://schemas.openxmlformats.org/officeDocument/2006/relationships/slideLayout" Target="../slideLayouts/slideLayout17.xml"/><Relationship Id="rId4" Type="http://schemas.openxmlformats.org/officeDocument/2006/relationships/image" Target="../media/image58.png"/><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image" Target="../media/image55.png"/></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17.xml"/><Relationship Id="rId5" Type="http://schemas.openxmlformats.org/officeDocument/2006/relationships/image" Target="../media/image19.png"/><Relationship Id="rId4" Type="http://schemas.openxmlformats.org/officeDocument/2006/relationships/image" Target="../media/image18.png"/><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image" Target="../media/image1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60.png"/><Relationship Id="rId1" Type="http://schemas.openxmlformats.org/officeDocument/2006/relationships/image" Target="../media/image59.png"/></Relationships>
</file>

<file path=ppt/slides/_rels/slide21.xml.rels><?xml version="1.0" encoding="UTF-8" standalone="yes"?>
<Relationships xmlns="http://schemas.openxmlformats.org/package/2006/relationships"><Relationship Id="rId9" Type="http://schemas.openxmlformats.org/officeDocument/2006/relationships/tags" Target="../tags/tag225.xml"/><Relationship Id="rId8" Type="http://schemas.openxmlformats.org/officeDocument/2006/relationships/image" Target="../media/image64.png"/><Relationship Id="rId7" Type="http://schemas.openxmlformats.org/officeDocument/2006/relationships/tags" Target="../tags/tag224.xml"/><Relationship Id="rId6" Type="http://schemas.openxmlformats.org/officeDocument/2006/relationships/image" Target="../media/image63.png"/><Relationship Id="rId5" Type="http://schemas.openxmlformats.org/officeDocument/2006/relationships/tags" Target="../tags/tag223.xml"/><Relationship Id="rId4" Type="http://schemas.openxmlformats.org/officeDocument/2006/relationships/image" Target="../media/image62.png"/><Relationship Id="rId3" Type="http://schemas.openxmlformats.org/officeDocument/2006/relationships/tags" Target="../tags/tag222.xml"/><Relationship Id="rId2" Type="http://schemas.openxmlformats.org/officeDocument/2006/relationships/image" Target="../media/image61.png"/><Relationship Id="rId13" Type="http://schemas.openxmlformats.org/officeDocument/2006/relationships/slideLayout" Target="../slideLayouts/slideLayout17.xml"/><Relationship Id="rId12" Type="http://schemas.openxmlformats.org/officeDocument/2006/relationships/tags" Target="../tags/tag228.xml"/><Relationship Id="rId11" Type="http://schemas.openxmlformats.org/officeDocument/2006/relationships/tags" Target="../tags/tag227.xml"/><Relationship Id="rId10" Type="http://schemas.openxmlformats.org/officeDocument/2006/relationships/tags" Target="../tags/tag226.xml"/><Relationship Id="rId1" Type="http://schemas.openxmlformats.org/officeDocument/2006/relationships/tags" Target="../tags/tag2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66.png"/><Relationship Id="rId1" Type="http://schemas.openxmlformats.org/officeDocument/2006/relationships/image" Target="../media/image65.png"/></Relationships>
</file>

<file path=ppt/slides/_rels/slide23.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17.xml"/><Relationship Id="rId2" Type="http://schemas.openxmlformats.org/officeDocument/2006/relationships/image" Target="../media/image68.png"/><Relationship Id="rId1"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70.png"/><Relationship Id="rId1" Type="http://schemas.openxmlformats.org/officeDocument/2006/relationships/image" Target="../media/image69.pn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9.xml"/><Relationship Id="rId1" Type="http://schemas.openxmlformats.org/officeDocument/2006/relationships/image" Target="../media/image74.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7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76.png"/></Relationships>
</file>

<file path=ppt/slides/_rels/slide3.xml.rels><?xml version="1.0" encoding="UTF-8" standalone="yes"?>
<Relationships xmlns="http://schemas.openxmlformats.org/package/2006/relationships"><Relationship Id="rId9" Type="http://schemas.openxmlformats.org/officeDocument/2006/relationships/tags" Target="../tags/tag126.xml"/><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3" Type="http://schemas.openxmlformats.org/officeDocument/2006/relationships/tags" Target="../tags/tag120.xml"/><Relationship Id="rId2" Type="http://schemas.openxmlformats.org/officeDocument/2006/relationships/slide" Target="slide1.xml"/><Relationship Id="rId18" Type="http://schemas.openxmlformats.org/officeDocument/2006/relationships/slideLayout" Target="../slideLayouts/slideLayout17.xml"/><Relationship Id="rId17" Type="http://schemas.openxmlformats.org/officeDocument/2006/relationships/tags" Target="../tags/tag132.xml"/><Relationship Id="rId16" Type="http://schemas.openxmlformats.org/officeDocument/2006/relationships/tags" Target="../tags/tag131.xml"/><Relationship Id="rId15" Type="http://schemas.openxmlformats.org/officeDocument/2006/relationships/image" Target="../media/image21.png"/><Relationship Id="rId14" Type="http://schemas.openxmlformats.org/officeDocument/2006/relationships/tags" Target="../tags/tag130.xml"/><Relationship Id="rId13" Type="http://schemas.openxmlformats.org/officeDocument/2006/relationships/image" Target="../media/image20.png"/><Relationship Id="rId12" Type="http://schemas.openxmlformats.org/officeDocument/2006/relationships/tags" Target="../tags/tag129.xml"/><Relationship Id="rId11" Type="http://schemas.openxmlformats.org/officeDocument/2006/relationships/tags" Target="../tags/tag128.xml"/><Relationship Id="rId10" Type="http://schemas.openxmlformats.org/officeDocument/2006/relationships/tags" Target="../tags/tag127.xml"/><Relationship Id="rId1" Type="http://schemas.openxmlformats.org/officeDocument/2006/relationships/tags" Target="../tags/tag11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78.png"/><Relationship Id="rId1" Type="http://schemas.openxmlformats.org/officeDocument/2006/relationships/image" Target="../media/image77.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79.pn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0.jpe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30.xml"/><Relationship Id="rId1" Type="http://schemas.openxmlformats.org/officeDocument/2006/relationships/image" Target="../media/image81.png"/></Relationships>
</file>

<file path=ppt/slides/_rels/slide34.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image" Target="../media/image82.png"/><Relationship Id="rId2" Type="http://schemas.openxmlformats.org/officeDocument/2006/relationships/tags" Target="../tags/tag232.xml"/><Relationship Id="rId1" Type="http://schemas.openxmlformats.org/officeDocument/2006/relationships/tags" Target="../tags/tag23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3.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4.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5.pn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6.jpe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87.png"/></Relationships>
</file>

<file path=ppt/slides/_rels/slide4.xml.rels><?xml version="1.0" encoding="UTF-8" standalone="yes"?>
<Relationships xmlns="http://schemas.openxmlformats.org/package/2006/relationships"><Relationship Id="rId9" Type="http://schemas.openxmlformats.org/officeDocument/2006/relationships/tags" Target="../tags/tag139.xml"/><Relationship Id="rId8" Type="http://schemas.openxmlformats.org/officeDocument/2006/relationships/tags" Target="../tags/tag138.xml"/><Relationship Id="rId7" Type="http://schemas.openxmlformats.org/officeDocument/2006/relationships/tags" Target="../tags/tag137.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35" Type="http://schemas.openxmlformats.org/officeDocument/2006/relationships/notesSlide" Target="../notesSlides/notesSlide2.xml"/><Relationship Id="rId34" Type="http://schemas.openxmlformats.org/officeDocument/2006/relationships/vmlDrawing" Target="../drawings/vmlDrawing1.vml"/><Relationship Id="rId33" Type="http://schemas.openxmlformats.org/officeDocument/2006/relationships/slideLayout" Target="../slideLayouts/slideLayout17.xml"/><Relationship Id="rId32" Type="http://schemas.openxmlformats.org/officeDocument/2006/relationships/tags" Target="../tags/tag156.xml"/><Relationship Id="rId31" Type="http://schemas.openxmlformats.org/officeDocument/2006/relationships/tags" Target="../tags/tag155.xml"/><Relationship Id="rId30" Type="http://schemas.openxmlformats.org/officeDocument/2006/relationships/tags" Target="../tags/tag154.xml"/><Relationship Id="rId3" Type="http://schemas.openxmlformats.org/officeDocument/2006/relationships/image" Target="../media/image22.emf"/><Relationship Id="rId29" Type="http://schemas.openxmlformats.org/officeDocument/2006/relationships/image" Target="../media/image28.svg"/><Relationship Id="rId28" Type="http://schemas.openxmlformats.org/officeDocument/2006/relationships/image" Target="../media/image27.png"/><Relationship Id="rId27" Type="http://schemas.openxmlformats.org/officeDocument/2006/relationships/tags" Target="../tags/tag153.xml"/><Relationship Id="rId26" Type="http://schemas.openxmlformats.org/officeDocument/2006/relationships/image" Target="../media/image26.svg"/><Relationship Id="rId25" Type="http://schemas.openxmlformats.org/officeDocument/2006/relationships/image" Target="../media/image25.png"/><Relationship Id="rId24" Type="http://schemas.openxmlformats.org/officeDocument/2006/relationships/tags" Target="../tags/tag152.xml"/><Relationship Id="rId23" Type="http://schemas.openxmlformats.org/officeDocument/2006/relationships/tags" Target="../tags/tag151.xml"/><Relationship Id="rId22" Type="http://schemas.openxmlformats.org/officeDocument/2006/relationships/tags" Target="../tags/tag150.xml"/><Relationship Id="rId21" Type="http://schemas.openxmlformats.org/officeDocument/2006/relationships/tags" Target="../tags/tag149.xml"/><Relationship Id="rId20" Type="http://schemas.openxmlformats.org/officeDocument/2006/relationships/image" Target="../media/image24.svg"/><Relationship Id="rId2" Type="http://schemas.openxmlformats.org/officeDocument/2006/relationships/oleObject" Target="../embeddings/oleObject1.bin"/><Relationship Id="rId19" Type="http://schemas.openxmlformats.org/officeDocument/2006/relationships/image" Target="../media/image23.png"/><Relationship Id="rId18" Type="http://schemas.openxmlformats.org/officeDocument/2006/relationships/tags" Target="../tags/tag148.xml"/><Relationship Id="rId17" Type="http://schemas.openxmlformats.org/officeDocument/2006/relationships/tags" Target="../tags/tag147.xml"/><Relationship Id="rId16" Type="http://schemas.openxmlformats.org/officeDocument/2006/relationships/tags" Target="../tags/tag146.xml"/><Relationship Id="rId15" Type="http://schemas.openxmlformats.org/officeDocument/2006/relationships/tags" Target="../tags/tag145.xml"/><Relationship Id="rId14" Type="http://schemas.openxmlformats.org/officeDocument/2006/relationships/tags" Target="../tags/tag144.xml"/><Relationship Id="rId13" Type="http://schemas.openxmlformats.org/officeDocument/2006/relationships/tags" Target="../tags/tag143.xml"/><Relationship Id="rId12" Type="http://schemas.openxmlformats.org/officeDocument/2006/relationships/tags" Target="../tags/tag142.xml"/><Relationship Id="rId11" Type="http://schemas.openxmlformats.org/officeDocument/2006/relationships/tags" Target="../tags/tag141.xml"/><Relationship Id="rId10" Type="http://schemas.openxmlformats.org/officeDocument/2006/relationships/tags" Target="../tags/tag140.xml"/><Relationship Id="rId1" Type="http://schemas.openxmlformats.org/officeDocument/2006/relationships/tags" Target="../tags/tag13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89.png"/><Relationship Id="rId1" Type="http://schemas.openxmlformats.org/officeDocument/2006/relationships/image" Target="../media/image88.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90.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91.png"/></Relationships>
</file>

<file path=ppt/slides/_rels/slide43.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tags" Target="../tags/tag233.xml"/><Relationship Id="rId2" Type="http://schemas.openxmlformats.org/officeDocument/2006/relationships/image" Target="../media/image92.png"/><Relationship Id="rId1" Type="http://schemas.openxmlformats.org/officeDocument/2006/relationships/hyperlink" Target="https://www.topuniversities.com/&#13;" TargetMode="Externa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94.png"/><Relationship Id="rId1" Type="http://schemas.openxmlformats.org/officeDocument/2006/relationships/image" Target="../media/image93.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96.png"/><Relationship Id="rId1" Type="http://schemas.openxmlformats.org/officeDocument/2006/relationships/image" Target="../media/image95.png"/></Relationships>
</file>

<file path=ppt/slides/_rels/slide46.xml.rels><?xml version="1.0" encoding="UTF-8" standalone="yes"?>
<Relationships xmlns="http://schemas.openxmlformats.org/package/2006/relationships"><Relationship Id="rId9" Type="http://schemas.openxmlformats.org/officeDocument/2006/relationships/tags" Target="../tags/tag241.xml"/><Relationship Id="rId8" Type="http://schemas.openxmlformats.org/officeDocument/2006/relationships/tags" Target="../tags/tag240.xml"/><Relationship Id="rId7" Type="http://schemas.openxmlformats.org/officeDocument/2006/relationships/tags" Target="../tags/tag239.x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3" Type="http://schemas.openxmlformats.org/officeDocument/2006/relationships/tags" Target="../tags/tag235.xml"/><Relationship Id="rId2" Type="http://schemas.openxmlformats.org/officeDocument/2006/relationships/image" Target="../media/image97.png"/><Relationship Id="rId11" Type="http://schemas.openxmlformats.org/officeDocument/2006/relationships/slideLayout" Target="../slideLayouts/slideLayout17.xml"/><Relationship Id="rId10" Type="http://schemas.openxmlformats.org/officeDocument/2006/relationships/tags" Target="../tags/tag242.xml"/><Relationship Id="rId1" Type="http://schemas.openxmlformats.org/officeDocument/2006/relationships/tags" Target="../tags/tag234.xml"/></Relationships>
</file>

<file path=ppt/slides/_rels/slide47.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 Id="rId3" Type="http://schemas.openxmlformats.org/officeDocument/2006/relationships/tags" Target="../tags/tag244.xml"/><Relationship Id="rId2" Type="http://schemas.openxmlformats.org/officeDocument/2006/relationships/image" Target="../media/image98.png"/><Relationship Id="rId1" Type="http://schemas.openxmlformats.org/officeDocument/2006/relationships/tags" Target="../tags/tag243.xml"/></Relationships>
</file>

<file path=ppt/slides/_rels/slide48.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252.xml"/><Relationship Id="rId5" Type="http://schemas.openxmlformats.org/officeDocument/2006/relationships/tags" Target="../tags/tag251.xml"/><Relationship Id="rId4" Type="http://schemas.openxmlformats.org/officeDocument/2006/relationships/tags" Target="../tags/tag250.xml"/><Relationship Id="rId3" Type="http://schemas.openxmlformats.org/officeDocument/2006/relationships/tags" Target="../tags/tag249.xml"/><Relationship Id="rId2" Type="http://schemas.openxmlformats.org/officeDocument/2006/relationships/image" Target="../media/image99.png"/><Relationship Id="rId1" Type="http://schemas.openxmlformats.org/officeDocument/2006/relationships/tags" Target="../tags/tag248.xml"/></Relationships>
</file>

<file path=ppt/slides/_rels/slide49.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tags" Target="../tags/tag257.xml"/><Relationship Id="rId5" Type="http://schemas.openxmlformats.org/officeDocument/2006/relationships/tags" Target="../tags/tag256.xml"/><Relationship Id="rId4" Type="http://schemas.openxmlformats.org/officeDocument/2006/relationships/tags" Target="../tags/tag255.xml"/><Relationship Id="rId3" Type="http://schemas.openxmlformats.org/officeDocument/2006/relationships/tags" Target="../tags/tag254.xml"/><Relationship Id="rId2" Type="http://schemas.openxmlformats.org/officeDocument/2006/relationships/image" Target="../media/image100.png"/><Relationship Id="rId1" Type="http://schemas.openxmlformats.org/officeDocument/2006/relationships/tags" Target="../tags/tag253.xml"/></Relationships>
</file>

<file path=ppt/slides/_rels/slide5.xml.rels><?xml version="1.0" encoding="UTF-8" standalone="yes"?>
<Relationships xmlns="http://schemas.openxmlformats.org/package/2006/relationships"><Relationship Id="rId9" Type="http://schemas.openxmlformats.org/officeDocument/2006/relationships/tags" Target="../tags/tag162.xml"/><Relationship Id="rId8" Type="http://schemas.openxmlformats.org/officeDocument/2006/relationships/image" Target="../media/image29.jpeg"/><Relationship Id="rId7" Type="http://schemas.openxmlformats.org/officeDocument/2006/relationships/tags" Target="../tags/tag161.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3" Type="http://schemas.openxmlformats.org/officeDocument/2006/relationships/image" Target="../media/image22.emf"/><Relationship Id="rId2" Type="http://schemas.openxmlformats.org/officeDocument/2006/relationships/oleObject" Target="../embeddings/oleObject2.bin"/><Relationship Id="rId12" Type="http://schemas.openxmlformats.org/officeDocument/2006/relationships/notesSlide" Target="../notesSlides/notesSlide3.xml"/><Relationship Id="rId11" Type="http://schemas.openxmlformats.org/officeDocument/2006/relationships/vmlDrawing" Target="../drawings/vmlDrawing2.vml"/><Relationship Id="rId10" Type="http://schemas.openxmlformats.org/officeDocument/2006/relationships/slideLayout" Target="../slideLayouts/slideLayout17.xml"/><Relationship Id="rId1" Type="http://schemas.openxmlformats.org/officeDocument/2006/relationships/tags" Target="../tags/tag157.xml"/></Relationships>
</file>

<file path=ppt/slides/_rels/slide50.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image" Target="../media/image101.jpeg"/><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tags" Target="../tags/tag258.xml"/></Relationships>
</file>

<file path=ppt/slides/_rels/slide51.xml.rels><?xml version="1.0" encoding="UTF-8" standalone="yes"?>
<Relationships xmlns="http://schemas.openxmlformats.org/package/2006/relationships"><Relationship Id="rId9" Type="http://schemas.openxmlformats.org/officeDocument/2006/relationships/tags" Target="../tags/tag270.xml"/><Relationship Id="rId8" Type="http://schemas.openxmlformats.org/officeDocument/2006/relationships/tags" Target="../tags/tag269.xml"/><Relationship Id="rId7" Type="http://schemas.openxmlformats.org/officeDocument/2006/relationships/tags" Target="../tags/tag268.xml"/><Relationship Id="rId6" Type="http://schemas.openxmlformats.org/officeDocument/2006/relationships/tags" Target="../tags/tag267.xml"/><Relationship Id="rId5" Type="http://schemas.openxmlformats.org/officeDocument/2006/relationships/tags" Target="../tags/tag266.xml"/><Relationship Id="rId4" Type="http://schemas.openxmlformats.org/officeDocument/2006/relationships/tags" Target="../tags/tag265.xml"/><Relationship Id="rId3" Type="http://schemas.openxmlformats.org/officeDocument/2006/relationships/tags" Target="../tags/tag264.xml"/><Relationship Id="rId2" Type="http://schemas.openxmlformats.org/officeDocument/2006/relationships/image" Target="../media/image102.png"/><Relationship Id="rId15" Type="http://schemas.openxmlformats.org/officeDocument/2006/relationships/slideLayout" Target="../slideLayouts/slideLayout22.xml"/><Relationship Id="rId14" Type="http://schemas.openxmlformats.org/officeDocument/2006/relationships/tags" Target="../tags/tag273.xml"/><Relationship Id="rId13" Type="http://schemas.openxmlformats.org/officeDocument/2006/relationships/tags" Target="../tags/tag272.xml"/><Relationship Id="rId12" Type="http://schemas.openxmlformats.org/officeDocument/2006/relationships/image" Target="../media/image104.png"/><Relationship Id="rId11" Type="http://schemas.openxmlformats.org/officeDocument/2006/relationships/tags" Target="../tags/tag271.xml"/><Relationship Id="rId10" Type="http://schemas.openxmlformats.org/officeDocument/2006/relationships/image" Target="../media/image103.png"/><Relationship Id="rId1" Type="http://schemas.openxmlformats.org/officeDocument/2006/relationships/tags" Target="../tags/tag263.xml"/></Relationships>
</file>

<file path=ppt/slides/_rels/slide52.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3" Type="http://schemas.openxmlformats.org/officeDocument/2006/relationships/tags" Target="../tags/tag275.xml"/><Relationship Id="rId2" Type="http://schemas.openxmlformats.org/officeDocument/2006/relationships/image" Target="../media/image105.jpeg"/><Relationship Id="rId1" Type="http://schemas.openxmlformats.org/officeDocument/2006/relationships/tags" Target="../tags/tag274.xml"/></Relationships>
</file>

<file path=ppt/slides/_rels/slide53.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 Id="rId3" Type="http://schemas.openxmlformats.org/officeDocument/2006/relationships/tags" Target="../tags/tag280.xml"/><Relationship Id="rId2" Type="http://schemas.openxmlformats.org/officeDocument/2006/relationships/image" Target="../media/image106.png"/><Relationship Id="rId1" Type="http://schemas.openxmlformats.org/officeDocument/2006/relationships/tags" Target="../tags/tag279.xml"/></Relationships>
</file>

<file path=ppt/slides/_rels/slide54.xml.rels><?xml version="1.0" encoding="UTF-8" standalone="yes"?>
<Relationships xmlns="http://schemas.openxmlformats.org/package/2006/relationships"><Relationship Id="rId5" Type="http://schemas.openxmlformats.org/officeDocument/2006/relationships/slideLayout" Target="../slideLayouts/slideLayout27.xml"/><Relationship Id="rId4" Type="http://schemas.openxmlformats.org/officeDocument/2006/relationships/tags" Target="../tags/tag286.xml"/><Relationship Id="rId3" Type="http://schemas.openxmlformats.org/officeDocument/2006/relationships/image" Target="../media/image14.jpeg"/><Relationship Id="rId2" Type="http://schemas.openxmlformats.org/officeDocument/2006/relationships/tags" Target="../tags/tag285.xml"/><Relationship Id="rId1" Type="http://schemas.openxmlformats.org/officeDocument/2006/relationships/tags" Target="../tags/tag284.xml"/></Relationships>
</file>

<file path=ppt/slides/_rels/slide6.xml.rels><?xml version="1.0" encoding="UTF-8" standalone="yes"?>
<Relationships xmlns="http://schemas.openxmlformats.org/package/2006/relationships"><Relationship Id="rId9" Type="http://schemas.openxmlformats.org/officeDocument/2006/relationships/tags" Target="../tags/tag168.xml"/><Relationship Id="rId8" Type="http://schemas.openxmlformats.org/officeDocument/2006/relationships/image" Target="../media/image30.jpeg"/><Relationship Id="rId7" Type="http://schemas.openxmlformats.org/officeDocument/2006/relationships/tags" Target="../tags/tag167.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3" Type="http://schemas.openxmlformats.org/officeDocument/2006/relationships/image" Target="../media/image22.emf"/><Relationship Id="rId2" Type="http://schemas.openxmlformats.org/officeDocument/2006/relationships/oleObject" Target="../embeddings/oleObject3.bin"/><Relationship Id="rId19" Type="http://schemas.openxmlformats.org/officeDocument/2006/relationships/notesSlide" Target="../notesSlides/notesSlide4.xml"/><Relationship Id="rId18" Type="http://schemas.openxmlformats.org/officeDocument/2006/relationships/vmlDrawing" Target="../drawings/vmlDrawing3.vml"/><Relationship Id="rId17" Type="http://schemas.openxmlformats.org/officeDocument/2006/relationships/slideLayout" Target="../slideLayouts/slideLayout17.xml"/><Relationship Id="rId16" Type="http://schemas.openxmlformats.org/officeDocument/2006/relationships/tags" Target="../tags/tag173.xml"/><Relationship Id="rId15" Type="http://schemas.openxmlformats.org/officeDocument/2006/relationships/tags" Target="../tags/tag172.xml"/><Relationship Id="rId14" Type="http://schemas.openxmlformats.org/officeDocument/2006/relationships/image" Target="../media/image32.png"/><Relationship Id="rId13" Type="http://schemas.openxmlformats.org/officeDocument/2006/relationships/tags" Target="../tags/tag171.xml"/><Relationship Id="rId12" Type="http://schemas.openxmlformats.org/officeDocument/2006/relationships/tags" Target="../tags/tag170.xml"/><Relationship Id="rId11" Type="http://schemas.openxmlformats.org/officeDocument/2006/relationships/image" Target="../media/image31.png"/><Relationship Id="rId10" Type="http://schemas.openxmlformats.org/officeDocument/2006/relationships/tags" Target="../tags/tag169.xml"/><Relationship Id="rId1" Type="http://schemas.openxmlformats.org/officeDocument/2006/relationships/tags" Target="../tags/tag163.xml"/></Relationships>
</file>

<file path=ppt/slides/_rels/slide7.xml.rels><?xml version="1.0" encoding="UTF-8" standalone="yes"?>
<Relationships xmlns="http://schemas.openxmlformats.org/package/2006/relationships"><Relationship Id="rId9" Type="http://schemas.openxmlformats.org/officeDocument/2006/relationships/tags" Target="../tags/tag179.xml"/><Relationship Id="rId8" Type="http://schemas.openxmlformats.org/officeDocument/2006/relationships/tags" Target="../tags/tag178.xml"/><Relationship Id="rId7" Type="http://schemas.openxmlformats.org/officeDocument/2006/relationships/tags" Target="../tags/tag177.xml"/><Relationship Id="rId6" Type="http://schemas.openxmlformats.org/officeDocument/2006/relationships/image" Target="../media/image35.png"/><Relationship Id="rId5" Type="http://schemas.openxmlformats.org/officeDocument/2006/relationships/tags" Target="../tags/tag176.xml"/><Relationship Id="rId4" Type="http://schemas.openxmlformats.org/officeDocument/2006/relationships/image" Target="../media/image34.png"/><Relationship Id="rId3" Type="http://schemas.openxmlformats.org/officeDocument/2006/relationships/tags" Target="../tags/tag175.xml"/><Relationship Id="rId2" Type="http://schemas.openxmlformats.org/officeDocument/2006/relationships/image" Target="../media/image33.png"/><Relationship Id="rId10" Type="http://schemas.openxmlformats.org/officeDocument/2006/relationships/slideLayout" Target="../slideLayouts/slideLayout23.xml"/><Relationship Id="rId1" Type="http://schemas.openxmlformats.org/officeDocument/2006/relationships/tags" Target="../tags/tag17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0.xml"/></Relationships>
</file>

<file path=ppt/slides/_rels/slide9.xml.rels><?xml version="1.0" encoding="UTF-8" standalone="yes"?>
<Relationships xmlns="http://schemas.openxmlformats.org/package/2006/relationships"><Relationship Id="rId9" Type="http://schemas.openxmlformats.org/officeDocument/2006/relationships/tags" Target="../tags/tag186.xml"/><Relationship Id="rId8" Type="http://schemas.openxmlformats.org/officeDocument/2006/relationships/tags" Target="../tags/tag185.xml"/><Relationship Id="rId7" Type="http://schemas.openxmlformats.org/officeDocument/2006/relationships/image" Target="../media/image38.png"/><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image" Target="../media/image37.jpeg"/><Relationship Id="rId3" Type="http://schemas.openxmlformats.org/officeDocument/2006/relationships/tags" Target="../tags/tag182.xml"/><Relationship Id="rId2" Type="http://schemas.openxmlformats.org/officeDocument/2006/relationships/image" Target="../media/image36.jpeg"/><Relationship Id="rId10" Type="http://schemas.openxmlformats.org/officeDocument/2006/relationships/slideLayout" Target="../slideLayouts/slideLayout23.xml"/><Relationship Id="rId1" Type="http://schemas.openxmlformats.org/officeDocument/2006/relationships/tags" Target="../tags/tag1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文本占位符 24"/>
          <p:cNvSpPr>
            <a:spLocks noGrp="1"/>
          </p:cNvSpPr>
          <p:nvPr>
            <p:custDataLst>
              <p:tags r:id="rId1"/>
            </p:custDataLst>
          </p:nvPr>
        </p:nvSpPr>
        <p:spPr>
          <a:xfrm>
            <a:off x="535955" y="3500482"/>
            <a:ext cx="2694940" cy="445135"/>
          </a:xfrm>
          <a:prstGeom prst="rect">
            <a:avLst/>
          </a:prstGeom>
          <a:noFill/>
          <a:ln>
            <a:noFill/>
          </a:ln>
        </p:spPr>
        <p:txBody>
          <a:bodyPr vert="horz" wrap="none" lIns="38100" tIns="38100" rIns="38100" bIns="38100" rtlCol="0">
            <a:spAutoFit/>
          </a:bodyPr>
          <a:lstStyle>
            <a:lvl1pPr marL="0" marR="0" indent="-171450" algn="ctr" defTabSz="685800" rtl="0" eaLnBrk="0" fontAlgn="base" latinLnBrk="0" hangingPunct="0">
              <a:lnSpc>
                <a:spcPct val="150000"/>
              </a:lnSpc>
              <a:spcBef>
                <a:spcPts val="0"/>
              </a:spcBef>
              <a:spcAft>
                <a:spcPts val="1000"/>
              </a:spcAft>
              <a:buClrTx/>
              <a:buSzTx/>
              <a:buFontTx/>
              <a:buNone/>
              <a:defRPr kumimoji="0" lang="zh-CN" altLang="zh-CN" sz="3200" b="0" i="0" u="none" strike="noStrike" kern="1200" cap="none" spc="0" normalizeH="0" baseline="0" noProof="1" dirty="0">
                <a:solidFill>
                  <a:schemeClr val="bg1"/>
                </a:solidFill>
                <a:uFillTx/>
                <a:latin typeface="+mn-lt"/>
                <a:ea typeface="+mn-ea"/>
                <a:cs typeface="+mn-cs"/>
                <a:sym typeface="Lucida Grande"/>
              </a:defRPr>
            </a:lvl1pPr>
            <a:lvl2pPr marL="742950" lvl="1" indent="-285750" algn="l" defTabSz="685800" rtl="0" eaLnBrk="0" fontAlgn="base" latinLnBrk="0" hangingPunct="0">
              <a:lnSpc>
                <a:spcPct val="120000"/>
              </a:lnSpc>
              <a:spcBef>
                <a:spcPct val="0"/>
              </a:spcBef>
              <a:spcAft>
                <a:spcPct val="0"/>
              </a:spcAft>
              <a:buFont typeface="Arial" panose="020B0604020202020204" pitchFamily="34" charset="0"/>
              <a:buChar char="●"/>
              <a:tabLst>
                <a:tab pos="1207135" algn="l"/>
                <a:tab pos="1207135" algn="l"/>
                <a:tab pos="1207135" algn="l"/>
                <a:tab pos="1207135" algn="l"/>
              </a:tabLst>
              <a:defRPr sz="100" b="0" u="none" strike="noStrike" kern="1200" cap="none" spc="150" normalizeH="0" baseline="0">
                <a:solidFill>
                  <a:schemeClr val="tx1"/>
                </a:solidFill>
                <a:uFillTx/>
                <a:latin typeface="Times New Roman" panose="02020603050405020304" pitchFamily="18" charset="0"/>
                <a:ea typeface="+mn-ea"/>
                <a:cs typeface="+mn-cs"/>
              </a:defRPr>
            </a:lvl2pPr>
            <a:lvl3pPr marL="1143000" lvl="2" indent="-228600" algn="l" defTabSz="685800" rtl="0" eaLnBrk="0" fontAlgn="base" latinLnBrk="0" hangingPunct="0">
              <a:lnSpc>
                <a:spcPct val="120000"/>
              </a:lnSpc>
              <a:spcBef>
                <a:spcPct val="0"/>
              </a:spcBef>
              <a:spcAft>
                <a:spcPct val="0"/>
              </a:spcAft>
              <a:buFont typeface="Arial" panose="020B0604020202020204" pitchFamily="34" charset="0"/>
              <a:buChar char="●"/>
              <a:defRPr sz="100" b="0" u="none" strike="noStrike" kern="1200" cap="none" spc="150" normalizeH="0" baseline="0">
                <a:solidFill>
                  <a:schemeClr val="tx1"/>
                </a:solidFill>
                <a:uFillTx/>
                <a:latin typeface="Times New Roman" panose="02020603050405020304" pitchFamily="18" charset="0"/>
                <a:ea typeface="+mn-ea"/>
                <a:cs typeface="+mn-cs"/>
              </a:defRPr>
            </a:lvl3pPr>
            <a:lvl4pPr marL="1600200" lvl="3" indent="-228600" algn="l" defTabSz="685800" rtl="0" eaLnBrk="0" fontAlgn="base" latinLnBrk="0" hangingPunct="0">
              <a:lnSpc>
                <a:spcPct val="120000"/>
              </a:lnSpc>
              <a:spcBef>
                <a:spcPct val="0"/>
              </a:spcBef>
              <a:spcAft>
                <a:spcPct val="0"/>
              </a:spcAft>
              <a:buFont typeface="Wingdings" panose="05000000000000000000" charset="0"/>
              <a:buChar char=""/>
              <a:defRPr sz="100" b="0" u="none" strike="noStrike" kern="1200" cap="none" spc="150" normalizeH="0" baseline="0">
                <a:solidFill>
                  <a:schemeClr val="tx1"/>
                </a:solidFill>
                <a:uFillTx/>
                <a:latin typeface="Times New Roman" panose="02020603050405020304" pitchFamily="18" charset="0"/>
                <a:ea typeface="+mn-ea"/>
                <a:cs typeface="+mn-cs"/>
              </a:defRPr>
            </a:lvl4pPr>
            <a:lvl5pPr marL="2057400" lvl="4" indent="-228600" algn="l" defTabSz="685800" rtl="0" eaLnBrk="0" fontAlgn="base" latinLnBrk="0" hangingPunct="0">
              <a:lnSpc>
                <a:spcPct val="120000"/>
              </a:lnSpc>
              <a:spcBef>
                <a:spcPct val="0"/>
              </a:spcBef>
              <a:spcAft>
                <a:spcPct val="0"/>
              </a:spcAft>
              <a:buFont typeface="Arial" panose="020B0604020202020204" pitchFamily="34" charset="0"/>
              <a:buChar char="•"/>
              <a:defRPr sz="100" b="0" u="none" strike="noStrike" kern="1200" cap="none" spc="150" normalizeH="0" baseline="0">
                <a:solidFill>
                  <a:schemeClr val="tx1"/>
                </a:solidFill>
                <a:uFillTx/>
                <a:latin typeface="Times New Roman" panose="02020603050405020304" pitchFamily="18" charset="0"/>
                <a:ea typeface="+mn-ea"/>
                <a:cs typeface="+mn-cs"/>
              </a:defRPr>
            </a:lvl5pPr>
            <a:lvl6pPr marL="2514600" indent="-228600" algn="l" defTabSz="685800" rtl="0" eaLnBrk="0" fontAlgn="base" latinLnBrk="0" hangingPunct="0">
              <a:lnSpc>
                <a:spcPct val="90000"/>
              </a:lnSpc>
              <a:spcBef>
                <a:spcPct val="0"/>
              </a:spcBef>
              <a:spcAft>
                <a:spcPct val="0"/>
              </a:spcAft>
              <a:buFont typeface="Arial" panose="020B0604020202020204" pitchFamily="34" charset="0"/>
              <a:buChar char="•"/>
              <a:defRPr sz="1350" kern="1200">
                <a:solidFill>
                  <a:schemeClr val="tx1"/>
                </a:solidFill>
                <a:latin typeface="Times New Roman" panose="02020603050405020304" pitchFamily="18" charset="0"/>
                <a:ea typeface="+mn-ea"/>
                <a:cs typeface="+mn-cs"/>
              </a:defRPr>
            </a:lvl6pPr>
            <a:lvl7pPr marL="2971800" indent="-228600" algn="l" defTabSz="685800" rtl="0" eaLnBrk="0" fontAlgn="base" latinLnBrk="0" hangingPunct="0">
              <a:lnSpc>
                <a:spcPct val="90000"/>
              </a:lnSpc>
              <a:spcBef>
                <a:spcPct val="0"/>
              </a:spcBef>
              <a:spcAft>
                <a:spcPct val="0"/>
              </a:spcAft>
              <a:buFont typeface="Arial" panose="020B0604020202020204" pitchFamily="34" charset="0"/>
              <a:buChar char="•"/>
              <a:defRPr sz="1350" kern="1200">
                <a:solidFill>
                  <a:schemeClr val="tx1"/>
                </a:solidFill>
                <a:latin typeface="Times New Roman" panose="02020603050405020304" pitchFamily="18" charset="0"/>
                <a:ea typeface="+mn-ea"/>
                <a:cs typeface="+mn-cs"/>
              </a:defRPr>
            </a:lvl7pPr>
            <a:lvl8pPr marL="3429000" indent="-228600" algn="l" defTabSz="685800" rtl="0" eaLnBrk="0" fontAlgn="base" latinLnBrk="0" hangingPunct="0">
              <a:lnSpc>
                <a:spcPct val="90000"/>
              </a:lnSpc>
              <a:spcBef>
                <a:spcPct val="0"/>
              </a:spcBef>
              <a:spcAft>
                <a:spcPct val="0"/>
              </a:spcAft>
              <a:buFont typeface="Arial" panose="020B0604020202020204" pitchFamily="34" charset="0"/>
              <a:buChar char="•"/>
              <a:defRPr sz="1350" kern="1200">
                <a:solidFill>
                  <a:schemeClr val="tx1"/>
                </a:solidFill>
                <a:latin typeface="Times New Roman" panose="02020603050405020304" pitchFamily="18" charset="0"/>
                <a:ea typeface="+mn-ea"/>
                <a:cs typeface="+mn-cs"/>
              </a:defRPr>
            </a:lvl8pPr>
            <a:lvl9pPr marL="3886200" indent="-228600" algn="l" defTabSz="685800" rtl="0" eaLnBrk="0" fontAlgn="base" latinLnBrk="0" hangingPunct="0">
              <a:lnSpc>
                <a:spcPct val="90000"/>
              </a:lnSpc>
              <a:spcBef>
                <a:spcPct val="0"/>
              </a:spcBef>
              <a:spcAft>
                <a:spcPct val="0"/>
              </a:spcAft>
              <a:buFont typeface="Arial" panose="020B0604020202020204" pitchFamily="34" charset="0"/>
              <a:buChar char="•"/>
              <a:defRPr sz="1350" kern="1200">
                <a:solidFill>
                  <a:schemeClr val="tx1"/>
                </a:solidFill>
                <a:latin typeface="Times New Roman" panose="02020603050405020304" pitchFamily="18" charset="0"/>
                <a:ea typeface="+mn-ea"/>
                <a:cs typeface="+mn-cs"/>
              </a:defRPr>
            </a:lvl9pPr>
          </a:lstStyle>
          <a:p>
            <a:pPr algn="l">
              <a:buNone/>
            </a:pPr>
            <a:r>
              <a:rPr lang="en-US" sz="1600" b="1" dirty="0">
                <a:solidFill>
                  <a:schemeClr val="tx1"/>
                </a:solidFill>
              </a:rPr>
              <a:t>--PQDT</a:t>
            </a:r>
            <a:r>
              <a:rPr altLang="en-US" sz="1600" b="1" dirty="0">
                <a:solidFill>
                  <a:schemeClr val="tx1"/>
                </a:solidFill>
              </a:rPr>
              <a:t>学位论文全文数据库</a:t>
            </a:r>
            <a:endParaRPr altLang="en-US" sz="1600" b="1" dirty="0">
              <a:solidFill>
                <a:schemeClr val="tx1"/>
              </a:solidFill>
            </a:endParaRPr>
          </a:p>
        </p:txBody>
      </p:sp>
      <p:sp>
        <p:nvSpPr>
          <p:cNvPr id="26" name="标题"/>
          <p:cNvSpPr>
            <a:spLocks noGrp="1"/>
          </p:cNvSpPr>
          <p:nvPr>
            <p:ph type="ctrTitle"/>
            <p:custDataLst>
              <p:tags r:id="rId2"/>
            </p:custDataLst>
          </p:nvPr>
        </p:nvSpPr>
        <p:spPr>
          <a:xfrm>
            <a:off x="535955" y="2060848"/>
            <a:ext cx="6408712" cy="1292220"/>
          </a:xfrm>
        </p:spPr>
        <p:txBody>
          <a:bodyPr>
            <a:normAutofit fontScale="90000"/>
          </a:bodyPr>
          <a:lstStyle/>
          <a:p>
            <a:pPr marL="0" indent="0" algn="l">
              <a:lnSpc>
                <a:spcPct val="125000"/>
              </a:lnSpc>
              <a:spcBef>
                <a:spcPts val="0"/>
              </a:spcBef>
              <a:spcAft>
                <a:spcPts val="0"/>
              </a:spcAft>
              <a:buSzPct val="100000"/>
            </a:pPr>
            <a:r>
              <a:rPr altLang="en-US" sz="3800" dirty="0" err="1"/>
              <a:t>如何高效挖掘国际前沿成果</a:t>
            </a:r>
            <a:br>
              <a:rPr lang="en-US" altLang="en-US" sz="3800" dirty="0"/>
            </a:br>
            <a:r>
              <a:rPr altLang="en-US" sz="3800" dirty="0" err="1"/>
              <a:t>与提升学位论文质量</a:t>
            </a:r>
            <a:endParaRPr altLang="en-US" sz="3800"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rcRect l="3538" t="20481" r="4327" b="20481"/>
          <a:stretch>
            <a:fillRect/>
          </a:stretch>
        </p:blipFill>
        <p:spPr>
          <a:xfrm>
            <a:off x="3779493" y="332909"/>
            <a:ext cx="2808312" cy="432048"/>
          </a:xfrm>
          <a:prstGeom prst="rect">
            <a:avLst/>
          </a:prstGeom>
        </p:spPr>
      </p:pic>
    </p:spTree>
    <p:custDataLst>
      <p:tags r:id="rId4"/>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custDataLst>
              <p:tags r:id="rId1"/>
            </p:custDataLst>
          </p:nvPr>
        </p:nvSpPr>
        <p:spPr bwMode="auto">
          <a:xfrm>
            <a:off x="611560" y="273366"/>
            <a:ext cx="8157592" cy="722631"/>
          </a:xfrm>
          <a:prstGeom prst="rect">
            <a:avLst/>
          </a:prstGeom>
        </p:spPr>
        <p:txBody>
          <a:bodyPr vert="horz" wrap="square" lIns="0" tIns="0" rIns="0" bIns="0" rtlCol="0" anchor="b">
            <a:normAutofit/>
          </a:bodyPr>
          <a:lstStyle/>
          <a:p>
            <a:pPr defTabSz="685800" eaLnBrk="1" hangingPunct="1"/>
            <a:r>
              <a:rPr lang="en-US" altLang="zh-CN" sz="3200" b="1" dirty="0">
                <a:gradFill>
                  <a:gsLst>
                    <a:gs pos="100000">
                      <a:schemeClr val="accent2"/>
                    </a:gs>
                    <a:gs pos="15000">
                      <a:schemeClr val="accent1">
                        <a:lumMod val="90000"/>
                        <a:lumOff val="10000"/>
                      </a:schemeClr>
                    </a:gs>
                  </a:gsLst>
                  <a:lin ang="2700000" scaled="0"/>
                </a:gradFill>
                <a:latin typeface="+mj-lt"/>
                <a:ea typeface="+mj-ea"/>
                <a:cs typeface="+mj-cs"/>
              </a:rPr>
              <a:t>PQDT </a:t>
            </a:r>
            <a:r>
              <a:rPr lang="zh-CN" altLang="en-US" sz="3200" b="1" dirty="0">
                <a:gradFill>
                  <a:gsLst>
                    <a:gs pos="100000">
                      <a:schemeClr val="accent2"/>
                    </a:gs>
                    <a:gs pos="15000">
                      <a:schemeClr val="accent1">
                        <a:lumMod val="90000"/>
                        <a:lumOff val="10000"/>
                      </a:schemeClr>
                    </a:gs>
                  </a:gsLst>
                  <a:lin ang="2700000" scaled="0"/>
                </a:gradFill>
                <a:latin typeface="+mj-lt"/>
                <a:ea typeface="+mj-ea"/>
                <a:cs typeface="+mj-cs"/>
              </a:rPr>
              <a:t>平台首页</a:t>
            </a:r>
            <a:r>
              <a:rPr lang="en-US" altLang="zh-CN" sz="3200" b="1" dirty="0">
                <a:gradFill>
                  <a:gsLst>
                    <a:gs pos="100000">
                      <a:schemeClr val="accent2"/>
                    </a:gs>
                    <a:gs pos="15000">
                      <a:schemeClr val="accent1">
                        <a:lumMod val="90000"/>
                        <a:lumOff val="10000"/>
                      </a:schemeClr>
                    </a:gs>
                  </a:gsLst>
                  <a:lin ang="2700000" scaled="0"/>
                </a:gradFill>
                <a:latin typeface="+mj-lt"/>
                <a:ea typeface="+mj-ea"/>
                <a:cs typeface="+mj-cs"/>
              </a:rPr>
              <a:t>  www.pqdtcn.com</a:t>
            </a:r>
            <a:endParaRPr lang="en-US" altLang="zh-CN" sz="3200" b="1" dirty="0">
              <a:gradFill>
                <a:gsLst>
                  <a:gs pos="100000">
                    <a:schemeClr val="accent2"/>
                  </a:gs>
                  <a:gs pos="15000">
                    <a:schemeClr val="accent1">
                      <a:lumMod val="90000"/>
                      <a:lumOff val="10000"/>
                    </a:schemeClr>
                  </a:gs>
                </a:gsLst>
                <a:lin ang="2700000" scaled="0"/>
              </a:gradFill>
              <a:latin typeface="+mj-lt"/>
              <a:ea typeface="+mj-ea"/>
              <a:cs typeface="+mj-cs"/>
            </a:endParaRPr>
          </a:p>
        </p:txBody>
      </p:sp>
      <p:sp>
        <p:nvSpPr>
          <p:cNvPr id="12291" name="文本框 2"/>
          <p:cNvSpPr txBox="1">
            <a:spLocks noChangeArrowheads="1"/>
          </p:cNvSpPr>
          <p:nvPr>
            <p:custDataLst>
              <p:tags r:id="rId2"/>
            </p:custDataLst>
          </p:nvPr>
        </p:nvSpPr>
        <p:spPr bwMode="auto">
          <a:xfrm>
            <a:off x="539552" y="1700213"/>
            <a:ext cx="8064895" cy="452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nSpc>
                <a:spcPct val="150000"/>
              </a:lnSpc>
            </a:pPr>
            <a:r>
              <a:rPr lang="en-US" altLang="zh-CN" sz="2400" dirty="0">
                <a:solidFill>
                  <a:schemeClr val="tx1"/>
                </a:solidFill>
                <a:latin typeface="+mn-lt"/>
              </a:rPr>
              <a:t>ProQuest</a:t>
            </a:r>
            <a:r>
              <a:rPr lang="zh-CN" altLang="zh-CN" sz="2400" dirty="0">
                <a:solidFill>
                  <a:schemeClr val="tx1"/>
                </a:solidFill>
                <a:latin typeface="+mn-lt"/>
              </a:rPr>
              <a:t>学位论文全文库是提供全球高质量学位论文全文的数据库，主要收录了来自欧美国家</a:t>
            </a:r>
            <a:r>
              <a:rPr lang="en-US" altLang="zh-CN" sz="2400" b="1" dirty="0">
                <a:solidFill>
                  <a:srgbClr val="FFFF00"/>
                </a:solidFill>
                <a:latin typeface="+mn-lt"/>
              </a:rPr>
              <a:t>3,000</a:t>
            </a:r>
            <a:r>
              <a:rPr lang="zh-CN" altLang="zh-CN" sz="2400" b="1" dirty="0">
                <a:solidFill>
                  <a:srgbClr val="FFFF00"/>
                </a:solidFill>
                <a:latin typeface="+mn-lt"/>
              </a:rPr>
              <a:t>余所知名大学</a:t>
            </a:r>
            <a:r>
              <a:rPr lang="zh-CN" altLang="zh-CN" sz="2400" dirty="0">
                <a:solidFill>
                  <a:schemeClr val="tx1"/>
                </a:solidFill>
                <a:latin typeface="+mn-lt"/>
              </a:rPr>
              <a:t>的优秀博硕士论文，目前中国集团收录共享论文</a:t>
            </a:r>
            <a:r>
              <a:rPr lang="zh-CN" altLang="zh-CN" sz="2400" b="1" dirty="0">
                <a:solidFill>
                  <a:srgbClr val="FFFF00"/>
                </a:solidFill>
                <a:latin typeface="+mn-lt"/>
              </a:rPr>
              <a:t>全文</a:t>
            </a:r>
            <a:r>
              <a:rPr lang="zh-CN" sz="2400" b="1" dirty="0">
                <a:solidFill>
                  <a:srgbClr val="FFFF00"/>
                </a:solidFill>
                <a:latin typeface="+mn-lt"/>
              </a:rPr>
              <a:t>约</a:t>
            </a:r>
            <a:r>
              <a:rPr lang="en-US" altLang="zh-CN" sz="2400" b="1" dirty="0">
                <a:solidFill>
                  <a:srgbClr val="FFFF00"/>
                </a:solidFill>
                <a:latin typeface="+mn-lt"/>
              </a:rPr>
              <a:t>110</a:t>
            </a:r>
            <a:r>
              <a:rPr lang="zh-CN" sz="2400" b="1" dirty="0">
                <a:solidFill>
                  <a:srgbClr val="FFFF00"/>
                </a:solidFill>
                <a:latin typeface="+mn-lt"/>
              </a:rPr>
              <a:t>万</a:t>
            </a:r>
            <a:r>
              <a:rPr lang="zh-CN" altLang="zh-CN" sz="2400" b="1" dirty="0">
                <a:solidFill>
                  <a:srgbClr val="FFFF00"/>
                </a:solidFill>
                <a:latin typeface="+mn-lt"/>
              </a:rPr>
              <a:t>篇</a:t>
            </a:r>
            <a:r>
              <a:rPr lang="zh-CN" altLang="zh-CN" sz="2400" dirty="0">
                <a:solidFill>
                  <a:schemeClr val="tx1"/>
                </a:solidFill>
                <a:latin typeface="+mn-lt"/>
              </a:rPr>
              <a:t>，并收录超过</a:t>
            </a:r>
            <a:r>
              <a:rPr lang="en-US" altLang="zh-CN" sz="2400" b="1" dirty="0">
                <a:solidFill>
                  <a:srgbClr val="FFFF00"/>
                </a:solidFill>
                <a:latin typeface="+mn-lt"/>
              </a:rPr>
              <a:t>430</a:t>
            </a:r>
            <a:r>
              <a:rPr lang="zh-CN" altLang="zh-CN" sz="2400" b="1" dirty="0">
                <a:solidFill>
                  <a:srgbClr val="FFFF00"/>
                </a:solidFill>
                <a:latin typeface="+mn-lt"/>
              </a:rPr>
              <a:t>万篇论文的目次摘要信息</a:t>
            </a:r>
            <a:r>
              <a:rPr lang="zh-CN" altLang="zh-CN" sz="2400" dirty="0">
                <a:solidFill>
                  <a:schemeClr val="tx1"/>
                </a:solidFill>
                <a:latin typeface="+mn-lt"/>
              </a:rPr>
              <a:t>，涉及现有主要学科领域的论文，是学术研究中十分重要的信息资源，对于研究和更新世界最新科学前沿有着</a:t>
            </a:r>
            <a:r>
              <a:rPr lang="zh-CN" sz="2400" dirty="0">
                <a:solidFill>
                  <a:schemeClr val="tx1"/>
                </a:solidFill>
                <a:latin typeface="+mn-lt"/>
              </a:rPr>
              <a:t>非常重要</a:t>
            </a:r>
            <a:r>
              <a:rPr lang="zh-CN" altLang="zh-CN" sz="2400" dirty="0">
                <a:solidFill>
                  <a:schemeClr val="tx1"/>
                </a:solidFill>
                <a:latin typeface="+mn-lt"/>
              </a:rPr>
              <a:t>的作用。</a:t>
            </a:r>
            <a:endParaRPr lang="zh-CN" altLang="zh-CN" sz="2400" dirty="0">
              <a:solidFill>
                <a:schemeClr val="tx1"/>
              </a:solidFill>
              <a:latin typeface="+mn-lt"/>
            </a:endParaRPr>
          </a:p>
          <a:p>
            <a:endParaRPr lang="zh-CN" altLang="zh-CN" dirty="0">
              <a:solidFill>
                <a:schemeClr val="tx1"/>
              </a:solidFill>
              <a:latin typeface="+mn-lt"/>
            </a:endParaRPr>
          </a:p>
        </p:txBody>
      </p:sp>
    </p:spTree>
    <p:custDataLst>
      <p:tags r:id="rId3"/>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5"/>
          <p:cNvSpPr>
            <a:spLocks noGrp="1" noChangeArrowheads="1"/>
          </p:cNvSpPr>
          <p:nvPr>
            <p:custDataLst>
              <p:tags r:id="rId1"/>
            </p:custDataLst>
          </p:nvPr>
        </p:nvSpPr>
        <p:spPr>
          <a:xfrm>
            <a:off x="394970" y="1844823"/>
            <a:ext cx="8619490" cy="4060041"/>
          </a:xfrm>
          <a:prstGeom prst="rect">
            <a:avLst/>
          </a:prstGeom>
        </p:spPr>
        <p:txBody>
          <a:bodyPr/>
          <a:lstStyle>
            <a:lvl1pPr marL="342900" indent="-342900" algn="l" rtl="0" eaLnBrk="0" fontAlgn="base" hangingPunct="0">
              <a:spcBef>
                <a:spcPct val="20000"/>
              </a:spcBef>
              <a:spcAft>
                <a:spcPct val="0"/>
              </a:spcAft>
              <a:buClr>
                <a:schemeClr val="tx1"/>
              </a:buClr>
              <a:buSzPct val="120000"/>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85000"/>
              <a:buFont typeface="Arial" panose="020B0604020202020204" pitchFamily="34" charset="0"/>
              <a:buChar char="–"/>
              <a:defRPr sz="2400">
                <a:solidFill>
                  <a:schemeClr val="tx2"/>
                </a:solidFill>
                <a:latin typeface="+mn-lt"/>
              </a:defRPr>
            </a:lvl2pPr>
            <a:lvl3pPr marL="1143000" indent="-228600" algn="l" rtl="0" eaLnBrk="0" fontAlgn="base" hangingPunct="0">
              <a:spcBef>
                <a:spcPct val="20000"/>
              </a:spcBef>
              <a:spcAft>
                <a:spcPct val="0"/>
              </a:spcAft>
              <a:buClr>
                <a:schemeClr val="tx1"/>
              </a:buClr>
              <a:buFont typeface="Wingdings" panose="05000000000000000000" pitchFamily="2" charset="2"/>
              <a:buChar char="§"/>
              <a:defRPr sz="2400">
                <a:solidFill>
                  <a:schemeClr val="tx2"/>
                </a:solidFill>
                <a:latin typeface="+mn-lt"/>
              </a:defRPr>
            </a:lvl3pPr>
            <a:lvl4pPr marL="1600200" indent="-228600" algn="l" rtl="0" eaLnBrk="0" fontAlgn="base" hangingPunct="0">
              <a:spcBef>
                <a:spcPct val="20000"/>
              </a:spcBef>
              <a:spcAft>
                <a:spcPct val="0"/>
              </a:spcAft>
              <a:buClr>
                <a:schemeClr val="tx1"/>
              </a:buClr>
              <a:buSzPct val="75000"/>
              <a:buFont typeface="Arial" panose="020B0604020202020204" pitchFamily="34" charset="0"/>
              <a:buChar char="–"/>
              <a:defRPr sz="2000">
                <a:solidFill>
                  <a:schemeClr val="tx2"/>
                </a:solidFill>
                <a:latin typeface="+mn-lt"/>
              </a:defRPr>
            </a:lvl4pPr>
            <a:lvl5pPr marL="2057400" indent="-228600" algn="l" rtl="0" eaLnBrk="0" fontAlgn="base" hangingPunct="0">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5pPr>
            <a:lvl6pPr marL="25146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6pPr>
            <a:lvl7pPr marL="29718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7pPr>
            <a:lvl8pPr marL="34290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8pPr>
            <a:lvl9pPr marL="38862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9pPr>
          </a:lstStyle>
          <a:p>
            <a:pPr marL="304800" indent="-304800">
              <a:spcBef>
                <a:spcPct val="0"/>
              </a:spcBef>
              <a:defRPr/>
            </a:pPr>
            <a:r>
              <a:rPr lang="zh-CN" altLang="en-US" sz="2400" dirty="0">
                <a:cs typeface="Arial Unicode MS" panose="020B0604020202020204" pitchFamily="34" charset="-122"/>
                <a:sym typeface="+mn-ea"/>
              </a:rPr>
              <a:t>全球 </a:t>
            </a:r>
            <a:r>
              <a:rPr lang="en-GB" altLang="en-US" sz="2400" dirty="0">
                <a:cs typeface="Arial Unicode MS" panose="020B0604020202020204" pitchFamily="34" charset="-122"/>
                <a:sym typeface="+mn-ea"/>
              </a:rPr>
              <a:t>3,000+</a:t>
            </a:r>
            <a:r>
              <a:rPr lang="zh-CN" altLang="en-US" sz="2400" dirty="0">
                <a:cs typeface="Arial Unicode MS" panose="020B0604020202020204" pitchFamily="34" charset="-122"/>
                <a:sym typeface="+mn-ea"/>
              </a:rPr>
              <a:t> 图书馆订购了</a:t>
            </a:r>
            <a:r>
              <a:rPr lang="en-GB" altLang="en-US" sz="2400" dirty="0">
                <a:cs typeface="Arial Unicode MS" panose="020B0604020202020204" pitchFamily="34" charset="-122"/>
                <a:sym typeface="+mn-ea"/>
              </a:rPr>
              <a:t>PQDT</a:t>
            </a:r>
            <a:endParaRPr lang="en-GB" altLang="en-US" sz="2400" dirty="0">
              <a:cs typeface="Arial Unicode MS" panose="020B0604020202020204" pitchFamily="34" charset="-122"/>
              <a:sym typeface="+mn-ea"/>
            </a:endParaRPr>
          </a:p>
          <a:p>
            <a:pPr>
              <a:lnSpc>
                <a:spcPct val="150000"/>
              </a:lnSpc>
              <a:defRPr/>
            </a:pPr>
            <a:r>
              <a:rPr lang="zh-CN" altLang="en-US" sz="2400" dirty="0">
                <a:cs typeface="Arial Unicode MS" panose="020B0604020202020204" pitchFamily="34" charset="-122"/>
                <a:sym typeface="+mn-ea"/>
              </a:rPr>
              <a:t>现与 </a:t>
            </a:r>
            <a:r>
              <a:rPr lang="en-GB" altLang="en-US" sz="2400" dirty="0">
                <a:cs typeface="Arial Unicode MS" panose="020B0604020202020204" pitchFamily="34" charset="-122"/>
                <a:sym typeface="+mn-ea"/>
              </a:rPr>
              <a:t>700</a:t>
            </a:r>
            <a:r>
              <a:rPr lang="en-US" altLang="zh-CN" sz="2400" dirty="0">
                <a:cs typeface="Arial Unicode MS" panose="020B0604020202020204" pitchFamily="34" charset="-122"/>
                <a:sym typeface="+mn-ea"/>
              </a:rPr>
              <a:t>+  </a:t>
            </a:r>
            <a:r>
              <a:rPr lang="zh-CN" altLang="en-US" sz="2400" dirty="0">
                <a:cs typeface="Arial Unicode MS" panose="020B0604020202020204" pitchFamily="34" charset="-122"/>
                <a:sym typeface="+mn-ea"/>
              </a:rPr>
              <a:t>综合大学合作出版</a:t>
            </a:r>
            <a:endParaRPr lang="zh-CN" altLang="en-US" sz="2400" dirty="0">
              <a:solidFill>
                <a:schemeClr val="tx1"/>
              </a:solidFill>
              <a:cs typeface="Arial Unicode MS" panose="020B0604020202020204" pitchFamily="34" charset="-122"/>
            </a:endParaRPr>
          </a:p>
          <a:p>
            <a:pPr>
              <a:lnSpc>
                <a:spcPct val="150000"/>
              </a:lnSpc>
              <a:defRPr/>
            </a:pPr>
            <a:r>
              <a:rPr lang="zh-CN" altLang="en-US" sz="2400" dirty="0">
                <a:solidFill>
                  <a:schemeClr val="tx1"/>
                </a:solidFill>
                <a:cs typeface="Arial Unicode MS" panose="020B0604020202020204" pitchFamily="34" charset="-122"/>
              </a:rPr>
              <a:t>收录了全球 </a:t>
            </a:r>
            <a:r>
              <a:rPr lang="en-US" altLang="zh-CN" sz="2400" dirty="0">
                <a:solidFill>
                  <a:schemeClr val="tx1"/>
                </a:solidFill>
                <a:cs typeface="Arial Unicode MS" panose="020B0604020202020204" pitchFamily="34" charset="-122"/>
              </a:rPr>
              <a:t>3</a:t>
            </a:r>
            <a:r>
              <a:rPr lang="en-GB" altLang="zh-CN" sz="2400" dirty="0">
                <a:solidFill>
                  <a:schemeClr val="tx1"/>
                </a:solidFill>
                <a:cs typeface="Arial Unicode MS" panose="020B0604020202020204" pitchFamily="34" charset="-122"/>
              </a:rPr>
              <a:t>,000</a:t>
            </a:r>
            <a:r>
              <a:rPr lang="en-US" altLang="zh-CN" sz="2400" dirty="0">
                <a:solidFill>
                  <a:schemeClr val="tx1"/>
                </a:solidFill>
                <a:cs typeface="Arial Unicode MS" panose="020B0604020202020204" pitchFamily="34" charset="-122"/>
              </a:rPr>
              <a:t>+ </a:t>
            </a:r>
            <a:r>
              <a:rPr lang="zh-CN" altLang="en-US" sz="2400" dirty="0">
                <a:solidFill>
                  <a:schemeClr val="tx1"/>
                </a:solidFill>
                <a:cs typeface="Arial Unicode MS" panose="020B0604020202020204" pitchFamily="34" charset="-122"/>
              </a:rPr>
              <a:t>研究院与综合大学的论文</a:t>
            </a:r>
            <a:endParaRPr lang="en-GB" sz="2400" dirty="0">
              <a:solidFill>
                <a:schemeClr val="tx1"/>
              </a:solidFill>
              <a:cs typeface="Arial Unicode MS" panose="020B0604020202020204" pitchFamily="34" charset="-122"/>
            </a:endParaRPr>
          </a:p>
          <a:p>
            <a:pPr>
              <a:lnSpc>
                <a:spcPct val="150000"/>
              </a:lnSpc>
              <a:defRPr/>
            </a:pPr>
            <a:r>
              <a:rPr lang="zh-CN" altLang="en-US" sz="2400" dirty="0">
                <a:cs typeface="Arial Unicode MS" panose="020B0604020202020204" pitchFamily="34" charset="-122"/>
                <a:sym typeface="+mn-ea"/>
              </a:rPr>
              <a:t>所有卡耐基基金会认定的美国一流研究型大学都与</a:t>
            </a:r>
            <a:r>
              <a:rPr lang="en-GB" altLang="zh-CN" sz="2400" dirty="0">
                <a:cs typeface="Arial Unicode MS" panose="020B0604020202020204" pitchFamily="34" charset="-122"/>
                <a:sym typeface="+mn-ea"/>
              </a:rPr>
              <a:t>UMI</a:t>
            </a:r>
            <a:r>
              <a:rPr lang="zh-CN" altLang="en-US" sz="2400" dirty="0">
                <a:cs typeface="Arial Unicode MS" panose="020B0604020202020204" pitchFamily="34" charset="-122"/>
                <a:sym typeface="+mn-ea"/>
              </a:rPr>
              <a:t>合作</a:t>
            </a:r>
            <a:endParaRPr lang="zh-CN" altLang="en-US" sz="2400" dirty="0">
              <a:solidFill>
                <a:schemeClr val="tx1"/>
              </a:solidFill>
              <a:cs typeface="Arial Unicode MS" panose="020B0604020202020204" pitchFamily="34" charset="-122"/>
            </a:endParaRPr>
          </a:p>
          <a:p>
            <a:pPr>
              <a:lnSpc>
                <a:spcPct val="150000"/>
              </a:lnSpc>
              <a:defRPr/>
            </a:pPr>
            <a:r>
              <a:rPr lang="en-GB" altLang="en-US" sz="2400" dirty="0">
                <a:solidFill>
                  <a:schemeClr val="tx1"/>
                </a:solidFill>
                <a:cs typeface="Arial Unicode MS" panose="020B0604020202020204" pitchFamily="34" charset="-122"/>
              </a:rPr>
              <a:t>40% </a:t>
            </a:r>
            <a:r>
              <a:rPr lang="zh-CN" altLang="en-US" sz="2400" dirty="0">
                <a:solidFill>
                  <a:schemeClr val="tx1"/>
                </a:solidFill>
                <a:cs typeface="Arial Unicode MS" panose="020B0604020202020204" pitchFamily="34" charset="-122"/>
              </a:rPr>
              <a:t>全球一流大学的博士论文由</a:t>
            </a:r>
            <a:r>
              <a:rPr lang="en-GB" altLang="en-US" sz="2400" dirty="0">
                <a:solidFill>
                  <a:schemeClr val="tx1"/>
                </a:solidFill>
                <a:cs typeface="Arial Unicode MS" panose="020B0604020202020204" pitchFamily="34" charset="-122"/>
              </a:rPr>
              <a:t>PQDT</a:t>
            </a:r>
            <a:r>
              <a:rPr lang="zh-CN" altLang="en-US" sz="2400" dirty="0">
                <a:solidFill>
                  <a:schemeClr val="tx1"/>
                </a:solidFill>
                <a:cs typeface="Arial Unicode MS" panose="020B0604020202020204" pitchFamily="34" charset="-122"/>
              </a:rPr>
              <a:t>出版</a:t>
            </a:r>
            <a:endParaRPr lang="en-GB" altLang="en-US" sz="2400" dirty="0">
              <a:solidFill>
                <a:schemeClr val="tx1"/>
              </a:solidFill>
              <a:cs typeface="Arial Unicode MS" panose="020B0604020202020204" pitchFamily="34" charset="-122"/>
            </a:endParaRPr>
          </a:p>
          <a:p>
            <a:pPr>
              <a:lnSpc>
                <a:spcPct val="150000"/>
              </a:lnSpc>
              <a:defRPr/>
            </a:pPr>
            <a:r>
              <a:rPr lang="zh-CN" altLang="en-US" sz="2400" dirty="0">
                <a:solidFill>
                  <a:schemeClr val="tx1"/>
                </a:solidFill>
                <a:cs typeface="Arial Unicode MS" panose="020B0604020202020204" pitchFamily="34" charset="-122"/>
              </a:rPr>
              <a:t>美国超过 </a:t>
            </a:r>
            <a:r>
              <a:rPr lang="en-GB" altLang="en-US" sz="2400" dirty="0">
                <a:solidFill>
                  <a:schemeClr val="tx1"/>
                </a:solidFill>
                <a:cs typeface="Arial Unicode MS" panose="020B0604020202020204" pitchFamily="34" charset="-122"/>
              </a:rPr>
              <a:t>90</a:t>
            </a:r>
            <a:r>
              <a:rPr lang="en-US" altLang="zh-CN" sz="2400" dirty="0">
                <a:solidFill>
                  <a:schemeClr val="tx1"/>
                </a:solidFill>
                <a:cs typeface="Arial Unicode MS" panose="020B0604020202020204" pitchFamily="34" charset="-122"/>
              </a:rPr>
              <a:t>% </a:t>
            </a:r>
            <a:r>
              <a:rPr lang="zh-CN" altLang="en-US" sz="2400" dirty="0">
                <a:solidFill>
                  <a:schemeClr val="tx1"/>
                </a:solidFill>
                <a:cs typeface="Arial Unicode MS" panose="020B0604020202020204" pitchFamily="34" charset="-122"/>
              </a:rPr>
              <a:t>的研究生院</a:t>
            </a:r>
            <a:r>
              <a:rPr lang="en-US" altLang="zh-CN" sz="2400" dirty="0">
                <a:cs typeface="Arial Unicode MS" panose="020B0604020202020204" pitchFamily="34" charset="-122"/>
              </a:rPr>
              <a:t>/</a:t>
            </a:r>
            <a:r>
              <a:rPr lang="zh-CN" altLang="en-US" sz="2400" dirty="0">
                <a:solidFill>
                  <a:schemeClr val="tx1"/>
                </a:solidFill>
                <a:cs typeface="Arial Unicode MS" panose="020B0604020202020204" pitchFamily="34" charset="-122"/>
              </a:rPr>
              <a:t>博士生院都在 </a:t>
            </a:r>
            <a:r>
              <a:rPr lang="en-US" altLang="zh-CN" sz="2400" dirty="0">
                <a:solidFill>
                  <a:schemeClr val="tx1"/>
                </a:solidFill>
                <a:cs typeface="Arial Unicode MS" panose="020B0604020202020204" pitchFamily="34" charset="-122"/>
              </a:rPr>
              <a:t>ProQuest </a:t>
            </a:r>
            <a:r>
              <a:rPr lang="zh-CN" altLang="en-US" sz="2400" dirty="0">
                <a:solidFill>
                  <a:schemeClr val="tx1"/>
                </a:solidFill>
                <a:cs typeface="Arial Unicode MS" panose="020B0604020202020204" pitchFamily="34" charset="-122"/>
              </a:rPr>
              <a:t>发表论文</a:t>
            </a:r>
            <a:endParaRPr lang="zh-CN" altLang="en-US" sz="2400" dirty="0">
              <a:solidFill>
                <a:schemeClr val="tx1"/>
              </a:solidFill>
              <a:cs typeface="Arial Unicode MS" panose="020B0604020202020204" pitchFamily="34" charset="-122"/>
            </a:endParaRPr>
          </a:p>
        </p:txBody>
      </p:sp>
      <p:sp>
        <p:nvSpPr>
          <p:cNvPr id="13314" name="Text Box 2"/>
          <p:cNvSpPr txBox="1">
            <a:spLocks noChangeArrowheads="1"/>
          </p:cNvSpPr>
          <p:nvPr>
            <p:custDataLst>
              <p:tags r:id="rId2"/>
            </p:custDataLst>
          </p:nvPr>
        </p:nvSpPr>
        <p:spPr bwMode="auto">
          <a:xfrm>
            <a:off x="8864600" y="6591300"/>
            <a:ext cx="203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r"/>
            <a:fld id="{23583129-EBB9-439F-9B3F-A2B23EDD41F8}" type="slidenum">
              <a:rPr lang="en-US" altLang="zh-CN" sz="800">
                <a:solidFill>
                  <a:schemeClr val="lt1"/>
                </a:solidFill>
                <a:ea typeface="宋体" panose="02010600030101010101" pitchFamily="2" charset="-122"/>
                <a:sym typeface="Arial" panose="020B0604020202020204" pitchFamily="34" charset="0"/>
              </a:rPr>
            </a:fld>
            <a:endParaRPr lang="en-US" altLang="zh-CN" sz="800">
              <a:solidFill>
                <a:schemeClr val="lt1"/>
              </a:solidFill>
              <a:ea typeface="宋体" panose="02010600030101010101" pitchFamily="2" charset="-122"/>
              <a:sym typeface="Arial" panose="020B0604020202020204" pitchFamily="34" charset="0"/>
            </a:endParaRPr>
          </a:p>
        </p:txBody>
      </p:sp>
      <p:pic>
        <p:nvPicPr>
          <p:cNvPr id="245" name="图片 244" descr="7968382_"/>
          <p:cNvPicPr>
            <a:picLocks noChangeAspect="1"/>
          </p:cNvPicPr>
          <p:nvPr>
            <p:custDataLst>
              <p:tags r:id="rId3"/>
            </p:custDataLst>
          </p:nvPr>
        </p:nvPicPr>
        <p:blipFill>
          <a:blip r:embed="rId4" cstate="email"/>
          <a:srcRect l="8691" t="7892" r="8691" b="7892"/>
          <a:stretch>
            <a:fillRect/>
          </a:stretch>
        </p:blipFill>
        <p:spPr>
          <a:xfrm>
            <a:off x="6588224" y="-466567"/>
            <a:ext cx="3306716" cy="2925764"/>
          </a:xfrm>
          <a:custGeom>
            <a:avLst/>
            <a:gdLst/>
            <a:ahLst/>
            <a:cxnLst>
              <a:cxn ang="3">
                <a:pos x="hc" y="t"/>
              </a:cxn>
              <a:cxn ang="cd2">
                <a:pos x="l" y="vc"/>
              </a:cxn>
              <a:cxn ang="cd4">
                <a:pos x="hc" y="b"/>
              </a:cxn>
              <a:cxn ang="0">
                <a:pos x="r" y="vc"/>
              </a:cxn>
            </a:cxnLst>
            <a:rect l="l" t="t" r="r" b="b"/>
            <a:pathLst>
              <a:path w="8575" h="7589">
                <a:moveTo>
                  <a:pt x="3890" y="7547"/>
                </a:moveTo>
                <a:cubicBezTo>
                  <a:pt x="3910" y="7547"/>
                  <a:pt x="3929" y="7550"/>
                  <a:pt x="3954" y="7550"/>
                </a:cubicBezTo>
                <a:cubicBezTo>
                  <a:pt x="3935" y="7569"/>
                  <a:pt x="3903" y="7569"/>
                  <a:pt x="3870" y="7569"/>
                </a:cubicBezTo>
                <a:cubicBezTo>
                  <a:pt x="3870" y="7556"/>
                  <a:pt x="3863" y="7550"/>
                  <a:pt x="3850" y="7550"/>
                </a:cubicBezTo>
                <a:cubicBezTo>
                  <a:pt x="3865" y="7547"/>
                  <a:pt x="3878" y="7547"/>
                  <a:pt x="3890" y="7547"/>
                </a:cubicBezTo>
                <a:close/>
                <a:moveTo>
                  <a:pt x="3676" y="7505"/>
                </a:moveTo>
                <a:cubicBezTo>
                  <a:pt x="3670" y="7537"/>
                  <a:pt x="3708" y="7518"/>
                  <a:pt x="3728" y="7524"/>
                </a:cubicBezTo>
                <a:cubicBezTo>
                  <a:pt x="3708" y="7542"/>
                  <a:pt x="3657" y="7524"/>
                  <a:pt x="3637" y="7530"/>
                </a:cubicBezTo>
                <a:cubicBezTo>
                  <a:pt x="3637" y="7511"/>
                  <a:pt x="3663" y="7511"/>
                  <a:pt x="3676" y="7505"/>
                </a:cubicBezTo>
                <a:close/>
                <a:moveTo>
                  <a:pt x="5471" y="7493"/>
                </a:moveTo>
                <a:cubicBezTo>
                  <a:pt x="5407" y="7531"/>
                  <a:pt x="5303" y="7569"/>
                  <a:pt x="5239" y="7588"/>
                </a:cubicBezTo>
                <a:cubicBezTo>
                  <a:pt x="5239" y="7550"/>
                  <a:pt x="5291" y="7556"/>
                  <a:pt x="5310" y="7550"/>
                </a:cubicBezTo>
                <a:cubicBezTo>
                  <a:pt x="5361" y="7531"/>
                  <a:pt x="5412" y="7499"/>
                  <a:pt x="5471" y="7493"/>
                </a:cubicBezTo>
                <a:close/>
                <a:moveTo>
                  <a:pt x="3869" y="7383"/>
                </a:moveTo>
                <a:cubicBezTo>
                  <a:pt x="3888" y="7383"/>
                  <a:pt x="3882" y="7402"/>
                  <a:pt x="3908" y="7396"/>
                </a:cubicBezTo>
                <a:cubicBezTo>
                  <a:pt x="3902" y="7415"/>
                  <a:pt x="3914" y="7422"/>
                  <a:pt x="3914" y="7434"/>
                </a:cubicBezTo>
                <a:cubicBezTo>
                  <a:pt x="3889" y="7434"/>
                  <a:pt x="3869" y="7460"/>
                  <a:pt x="3843" y="7440"/>
                </a:cubicBezTo>
                <a:cubicBezTo>
                  <a:pt x="3863" y="7427"/>
                  <a:pt x="3882" y="7421"/>
                  <a:pt x="3902" y="7421"/>
                </a:cubicBezTo>
                <a:cubicBezTo>
                  <a:pt x="3902" y="7402"/>
                  <a:pt x="3883" y="7402"/>
                  <a:pt x="3863" y="7402"/>
                </a:cubicBezTo>
                <a:cubicBezTo>
                  <a:pt x="3863" y="7396"/>
                  <a:pt x="3863" y="7396"/>
                  <a:pt x="3869" y="7396"/>
                </a:cubicBezTo>
                <a:cubicBezTo>
                  <a:pt x="3869" y="7396"/>
                  <a:pt x="3869" y="7396"/>
                  <a:pt x="3869" y="7383"/>
                </a:cubicBezTo>
                <a:close/>
                <a:moveTo>
                  <a:pt x="3923" y="7368"/>
                </a:moveTo>
                <a:cubicBezTo>
                  <a:pt x="3938" y="7368"/>
                  <a:pt x="3961" y="7374"/>
                  <a:pt x="3973" y="7370"/>
                </a:cubicBezTo>
                <a:cubicBezTo>
                  <a:pt x="3967" y="7383"/>
                  <a:pt x="3921" y="7389"/>
                  <a:pt x="3908" y="7377"/>
                </a:cubicBezTo>
                <a:cubicBezTo>
                  <a:pt x="3908" y="7370"/>
                  <a:pt x="3914" y="7368"/>
                  <a:pt x="3923" y="7368"/>
                </a:cubicBezTo>
                <a:close/>
                <a:moveTo>
                  <a:pt x="3726" y="7364"/>
                </a:moveTo>
                <a:cubicBezTo>
                  <a:pt x="3736" y="7364"/>
                  <a:pt x="3748" y="7366"/>
                  <a:pt x="3760" y="7371"/>
                </a:cubicBezTo>
                <a:cubicBezTo>
                  <a:pt x="3727" y="7435"/>
                  <a:pt x="3689" y="7454"/>
                  <a:pt x="3611" y="7460"/>
                </a:cubicBezTo>
                <a:cubicBezTo>
                  <a:pt x="3605" y="7441"/>
                  <a:pt x="3599" y="7434"/>
                  <a:pt x="3599" y="7409"/>
                </a:cubicBezTo>
                <a:cubicBezTo>
                  <a:pt x="3645" y="7404"/>
                  <a:pt x="3680" y="7365"/>
                  <a:pt x="3726" y="7364"/>
                </a:cubicBezTo>
                <a:close/>
                <a:moveTo>
                  <a:pt x="4531" y="7322"/>
                </a:moveTo>
                <a:cubicBezTo>
                  <a:pt x="4549" y="7323"/>
                  <a:pt x="4566" y="7332"/>
                  <a:pt x="4572" y="7351"/>
                </a:cubicBezTo>
                <a:cubicBezTo>
                  <a:pt x="4527" y="7364"/>
                  <a:pt x="4475" y="7370"/>
                  <a:pt x="4430" y="7383"/>
                </a:cubicBezTo>
                <a:cubicBezTo>
                  <a:pt x="4372" y="7402"/>
                  <a:pt x="4308" y="7441"/>
                  <a:pt x="4275" y="7402"/>
                </a:cubicBezTo>
                <a:cubicBezTo>
                  <a:pt x="4320" y="7409"/>
                  <a:pt x="4353" y="7370"/>
                  <a:pt x="4379" y="7370"/>
                </a:cubicBezTo>
                <a:cubicBezTo>
                  <a:pt x="4392" y="7364"/>
                  <a:pt x="4399" y="7377"/>
                  <a:pt x="4399" y="7377"/>
                </a:cubicBezTo>
                <a:cubicBezTo>
                  <a:pt x="4431" y="7370"/>
                  <a:pt x="4451" y="7332"/>
                  <a:pt x="4489" y="7345"/>
                </a:cubicBezTo>
                <a:cubicBezTo>
                  <a:pt x="4496" y="7329"/>
                  <a:pt x="4514" y="7321"/>
                  <a:pt x="4531" y="7322"/>
                </a:cubicBezTo>
                <a:close/>
                <a:moveTo>
                  <a:pt x="5871" y="7300"/>
                </a:moveTo>
                <a:cubicBezTo>
                  <a:pt x="5865" y="7332"/>
                  <a:pt x="5794" y="7351"/>
                  <a:pt x="5749" y="7364"/>
                </a:cubicBezTo>
                <a:cubicBezTo>
                  <a:pt x="5716" y="7390"/>
                  <a:pt x="5684" y="7415"/>
                  <a:pt x="5633" y="7422"/>
                </a:cubicBezTo>
                <a:cubicBezTo>
                  <a:pt x="5645" y="7390"/>
                  <a:pt x="5724" y="7390"/>
                  <a:pt x="5716" y="7358"/>
                </a:cubicBezTo>
                <a:cubicBezTo>
                  <a:pt x="5768" y="7351"/>
                  <a:pt x="5826" y="7319"/>
                  <a:pt x="5871" y="7300"/>
                </a:cubicBezTo>
                <a:close/>
                <a:moveTo>
                  <a:pt x="4677" y="7300"/>
                </a:moveTo>
                <a:cubicBezTo>
                  <a:pt x="4658" y="7320"/>
                  <a:pt x="4632" y="7326"/>
                  <a:pt x="4606" y="7339"/>
                </a:cubicBezTo>
                <a:cubicBezTo>
                  <a:pt x="4599" y="7320"/>
                  <a:pt x="4658" y="7314"/>
                  <a:pt x="4677" y="7300"/>
                </a:cubicBezTo>
                <a:close/>
                <a:moveTo>
                  <a:pt x="4180" y="7294"/>
                </a:moveTo>
                <a:cubicBezTo>
                  <a:pt x="4184" y="7294"/>
                  <a:pt x="4188" y="7294"/>
                  <a:pt x="4192" y="7295"/>
                </a:cubicBezTo>
                <a:cubicBezTo>
                  <a:pt x="4160" y="7301"/>
                  <a:pt x="4121" y="7326"/>
                  <a:pt x="4095" y="7320"/>
                </a:cubicBezTo>
                <a:cubicBezTo>
                  <a:pt x="4113" y="7297"/>
                  <a:pt x="4149" y="7294"/>
                  <a:pt x="4180" y="7294"/>
                </a:cubicBezTo>
                <a:close/>
                <a:moveTo>
                  <a:pt x="3925" y="7275"/>
                </a:moveTo>
                <a:cubicBezTo>
                  <a:pt x="3934" y="7275"/>
                  <a:pt x="3942" y="7278"/>
                  <a:pt x="3947" y="7287"/>
                </a:cubicBezTo>
                <a:cubicBezTo>
                  <a:pt x="3940" y="7300"/>
                  <a:pt x="3914" y="7294"/>
                  <a:pt x="3888" y="7294"/>
                </a:cubicBezTo>
                <a:cubicBezTo>
                  <a:pt x="3893" y="7286"/>
                  <a:pt x="3910" y="7276"/>
                  <a:pt x="3925" y="7275"/>
                </a:cubicBezTo>
                <a:close/>
                <a:moveTo>
                  <a:pt x="5975" y="7256"/>
                </a:moveTo>
                <a:cubicBezTo>
                  <a:pt x="5949" y="7281"/>
                  <a:pt x="5923" y="7294"/>
                  <a:pt x="5885" y="7301"/>
                </a:cubicBezTo>
                <a:cubicBezTo>
                  <a:pt x="5917" y="7287"/>
                  <a:pt x="5943" y="7268"/>
                  <a:pt x="5975" y="7256"/>
                </a:cubicBezTo>
                <a:close/>
                <a:moveTo>
                  <a:pt x="5528" y="7248"/>
                </a:moveTo>
                <a:cubicBezTo>
                  <a:pt x="5492" y="7247"/>
                  <a:pt x="5456" y="7282"/>
                  <a:pt x="5426" y="7294"/>
                </a:cubicBezTo>
                <a:cubicBezTo>
                  <a:pt x="5465" y="7300"/>
                  <a:pt x="5497" y="7287"/>
                  <a:pt x="5529" y="7281"/>
                </a:cubicBezTo>
                <a:cubicBezTo>
                  <a:pt x="5523" y="7262"/>
                  <a:pt x="5536" y="7262"/>
                  <a:pt x="5536" y="7249"/>
                </a:cubicBezTo>
                <a:cubicBezTo>
                  <a:pt x="5533" y="7248"/>
                  <a:pt x="5531" y="7248"/>
                  <a:pt x="5528" y="7248"/>
                </a:cubicBezTo>
                <a:close/>
                <a:moveTo>
                  <a:pt x="3689" y="7230"/>
                </a:moveTo>
                <a:cubicBezTo>
                  <a:pt x="3676" y="7256"/>
                  <a:pt x="3644" y="7287"/>
                  <a:pt x="3611" y="7275"/>
                </a:cubicBezTo>
                <a:cubicBezTo>
                  <a:pt x="3630" y="7255"/>
                  <a:pt x="3669" y="7249"/>
                  <a:pt x="3689" y="7230"/>
                </a:cubicBezTo>
                <a:close/>
                <a:moveTo>
                  <a:pt x="4050" y="7224"/>
                </a:moveTo>
                <a:cubicBezTo>
                  <a:pt x="4038" y="7237"/>
                  <a:pt x="3999" y="7224"/>
                  <a:pt x="3999" y="7250"/>
                </a:cubicBezTo>
                <a:cubicBezTo>
                  <a:pt x="4018" y="7242"/>
                  <a:pt x="4044" y="7250"/>
                  <a:pt x="4050" y="7224"/>
                </a:cubicBezTo>
                <a:close/>
                <a:moveTo>
                  <a:pt x="4838" y="7223"/>
                </a:moveTo>
                <a:cubicBezTo>
                  <a:pt x="4832" y="7250"/>
                  <a:pt x="4819" y="7268"/>
                  <a:pt x="4793" y="7275"/>
                </a:cubicBezTo>
                <a:cubicBezTo>
                  <a:pt x="4800" y="7242"/>
                  <a:pt x="4812" y="7242"/>
                  <a:pt x="4838" y="7223"/>
                </a:cubicBezTo>
                <a:close/>
                <a:moveTo>
                  <a:pt x="4874" y="7220"/>
                </a:moveTo>
                <a:lnTo>
                  <a:pt x="4874" y="7220"/>
                </a:lnTo>
                <a:cubicBezTo>
                  <a:pt x="4874" y="7220"/>
                  <a:pt x="4873" y="7220"/>
                  <a:pt x="4872" y="7220"/>
                </a:cubicBezTo>
                <a:lnTo>
                  <a:pt x="4874" y="7220"/>
                </a:lnTo>
                <a:close/>
                <a:moveTo>
                  <a:pt x="4166" y="7166"/>
                </a:moveTo>
                <a:cubicBezTo>
                  <a:pt x="4147" y="7178"/>
                  <a:pt x="4141" y="7198"/>
                  <a:pt x="4140" y="7216"/>
                </a:cubicBezTo>
                <a:cubicBezTo>
                  <a:pt x="4089" y="7235"/>
                  <a:pt x="4050" y="7261"/>
                  <a:pt x="3992" y="7280"/>
                </a:cubicBezTo>
                <a:cubicBezTo>
                  <a:pt x="3992" y="7268"/>
                  <a:pt x="3979" y="7268"/>
                  <a:pt x="3979" y="7261"/>
                </a:cubicBezTo>
                <a:cubicBezTo>
                  <a:pt x="3998" y="7242"/>
                  <a:pt x="3986" y="7242"/>
                  <a:pt x="3959" y="7230"/>
                </a:cubicBezTo>
                <a:cubicBezTo>
                  <a:pt x="4024" y="7205"/>
                  <a:pt x="4089" y="7178"/>
                  <a:pt x="4166" y="7166"/>
                </a:cubicBezTo>
                <a:close/>
                <a:moveTo>
                  <a:pt x="5203" y="7121"/>
                </a:moveTo>
                <a:cubicBezTo>
                  <a:pt x="5211" y="7121"/>
                  <a:pt x="5219" y="7122"/>
                  <a:pt x="5226" y="7122"/>
                </a:cubicBezTo>
                <a:cubicBezTo>
                  <a:pt x="5213" y="7128"/>
                  <a:pt x="5194" y="7134"/>
                  <a:pt x="5175" y="7134"/>
                </a:cubicBezTo>
                <a:cubicBezTo>
                  <a:pt x="5179" y="7122"/>
                  <a:pt x="5190" y="7120"/>
                  <a:pt x="5203" y="7121"/>
                </a:cubicBezTo>
                <a:close/>
                <a:moveTo>
                  <a:pt x="5274" y="7082"/>
                </a:moveTo>
                <a:cubicBezTo>
                  <a:pt x="5285" y="7082"/>
                  <a:pt x="5294" y="7085"/>
                  <a:pt x="5296" y="7089"/>
                </a:cubicBezTo>
                <a:cubicBezTo>
                  <a:pt x="5296" y="7121"/>
                  <a:pt x="5258" y="7077"/>
                  <a:pt x="5245" y="7096"/>
                </a:cubicBezTo>
                <a:cubicBezTo>
                  <a:pt x="5237" y="7088"/>
                  <a:pt x="5257" y="7082"/>
                  <a:pt x="5274" y="7082"/>
                </a:cubicBezTo>
                <a:close/>
                <a:moveTo>
                  <a:pt x="5878" y="7077"/>
                </a:moveTo>
                <a:cubicBezTo>
                  <a:pt x="5897" y="7083"/>
                  <a:pt x="5885" y="7115"/>
                  <a:pt x="5879" y="7130"/>
                </a:cubicBezTo>
                <a:cubicBezTo>
                  <a:pt x="5944" y="7116"/>
                  <a:pt x="5976" y="7110"/>
                  <a:pt x="6021" y="7091"/>
                </a:cubicBezTo>
                <a:cubicBezTo>
                  <a:pt x="6021" y="7103"/>
                  <a:pt x="6009" y="7103"/>
                  <a:pt x="6009" y="7122"/>
                </a:cubicBezTo>
                <a:cubicBezTo>
                  <a:pt x="5905" y="7160"/>
                  <a:pt x="5808" y="7154"/>
                  <a:pt x="5724" y="7212"/>
                </a:cubicBezTo>
                <a:cubicBezTo>
                  <a:pt x="5679" y="7224"/>
                  <a:pt x="5615" y="7212"/>
                  <a:pt x="5570" y="7237"/>
                </a:cubicBezTo>
                <a:cubicBezTo>
                  <a:pt x="5563" y="7262"/>
                  <a:pt x="5596" y="7250"/>
                  <a:pt x="5596" y="7262"/>
                </a:cubicBezTo>
                <a:cubicBezTo>
                  <a:pt x="5537" y="7307"/>
                  <a:pt x="5466" y="7333"/>
                  <a:pt x="5395" y="7365"/>
                </a:cubicBezTo>
                <a:cubicBezTo>
                  <a:pt x="5395" y="7429"/>
                  <a:pt x="5317" y="7416"/>
                  <a:pt x="5304" y="7474"/>
                </a:cubicBezTo>
                <a:cubicBezTo>
                  <a:pt x="5227" y="7506"/>
                  <a:pt x="5149" y="7531"/>
                  <a:pt x="5091" y="7589"/>
                </a:cubicBezTo>
                <a:cubicBezTo>
                  <a:pt x="5059" y="7570"/>
                  <a:pt x="5026" y="7486"/>
                  <a:pt x="4994" y="7525"/>
                </a:cubicBezTo>
                <a:cubicBezTo>
                  <a:pt x="4981" y="7474"/>
                  <a:pt x="4974" y="7340"/>
                  <a:pt x="5065" y="7378"/>
                </a:cubicBezTo>
                <a:cubicBezTo>
                  <a:pt x="5104" y="7346"/>
                  <a:pt x="5181" y="7321"/>
                  <a:pt x="5226" y="7327"/>
                </a:cubicBezTo>
                <a:cubicBezTo>
                  <a:pt x="5239" y="7346"/>
                  <a:pt x="5213" y="7372"/>
                  <a:pt x="5232" y="7385"/>
                </a:cubicBezTo>
                <a:cubicBezTo>
                  <a:pt x="5194" y="7404"/>
                  <a:pt x="5168" y="7435"/>
                  <a:pt x="5155" y="7474"/>
                </a:cubicBezTo>
                <a:cubicBezTo>
                  <a:pt x="5213" y="7512"/>
                  <a:pt x="5258" y="7448"/>
                  <a:pt x="5291" y="7429"/>
                </a:cubicBezTo>
                <a:cubicBezTo>
                  <a:pt x="5291" y="7416"/>
                  <a:pt x="5265" y="7441"/>
                  <a:pt x="5252" y="7422"/>
                </a:cubicBezTo>
                <a:cubicBezTo>
                  <a:pt x="5311" y="7409"/>
                  <a:pt x="5323" y="7352"/>
                  <a:pt x="5349" y="7314"/>
                </a:cubicBezTo>
                <a:cubicBezTo>
                  <a:pt x="5343" y="7301"/>
                  <a:pt x="5304" y="7320"/>
                  <a:pt x="5311" y="7295"/>
                </a:cubicBezTo>
                <a:cubicBezTo>
                  <a:pt x="5330" y="7288"/>
                  <a:pt x="5349" y="7282"/>
                  <a:pt x="5362" y="7276"/>
                </a:cubicBezTo>
                <a:cubicBezTo>
                  <a:pt x="5368" y="7250"/>
                  <a:pt x="5342" y="7256"/>
                  <a:pt x="5342" y="7231"/>
                </a:cubicBezTo>
                <a:cubicBezTo>
                  <a:pt x="5356" y="7237"/>
                  <a:pt x="5356" y="7224"/>
                  <a:pt x="5368" y="7224"/>
                </a:cubicBezTo>
                <a:cubicBezTo>
                  <a:pt x="5356" y="7186"/>
                  <a:pt x="5433" y="7167"/>
                  <a:pt x="5478" y="7154"/>
                </a:cubicBezTo>
                <a:cubicBezTo>
                  <a:pt x="5484" y="7205"/>
                  <a:pt x="5413" y="7174"/>
                  <a:pt x="5401" y="7205"/>
                </a:cubicBezTo>
                <a:cubicBezTo>
                  <a:pt x="5401" y="7224"/>
                  <a:pt x="5420" y="7231"/>
                  <a:pt x="5433" y="7237"/>
                </a:cubicBezTo>
                <a:cubicBezTo>
                  <a:pt x="5446" y="7198"/>
                  <a:pt x="5536" y="7173"/>
                  <a:pt x="5575" y="7192"/>
                </a:cubicBezTo>
                <a:cubicBezTo>
                  <a:pt x="5659" y="7128"/>
                  <a:pt x="5795" y="7141"/>
                  <a:pt x="5878" y="7077"/>
                </a:cubicBezTo>
                <a:close/>
                <a:moveTo>
                  <a:pt x="5620" y="7070"/>
                </a:moveTo>
                <a:cubicBezTo>
                  <a:pt x="5614" y="7115"/>
                  <a:pt x="5626" y="7128"/>
                  <a:pt x="5569" y="7128"/>
                </a:cubicBezTo>
                <a:cubicBezTo>
                  <a:pt x="5575" y="7115"/>
                  <a:pt x="5588" y="7108"/>
                  <a:pt x="5575" y="7083"/>
                </a:cubicBezTo>
                <a:cubicBezTo>
                  <a:pt x="5594" y="7083"/>
                  <a:pt x="5600" y="7070"/>
                  <a:pt x="5620" y="7070"/>
                </a:cubicBezTo>
                <a:close/>
                <a:moveTo>
                  <a:pt x="3624" y="7051"/>
                </a:moveTo>
                <a:cubicBezTo>
                  <a:pt x="3618" y="7077"/>
                  <a:pt x="3559" y="7077"/>
                  <a:pt x="3533" y="7064"/>
                </a:cubicBezTo>
                <a:cubicBezTo>
                  <a:pt x="3553" y="7039"/>
                  <a:pt x="3604" y="7064"/>
                  <a:pt x="3624" y="7051"/>
                </a:cubicBezTo>
                <a:close/>
                <a:moveTo>
                  <a:pt x="5138" y="7043"/>
                </a:moveTo>
                <a:cubicBezTo>
                  <a:pt x="5111" y="7044"/>
                  <a:pt x="5076" y="7055"/>
                  <a:pt x="5071" y="7070"/>
                </a:cubicBezTo>
                <a:cubicBezTo>
                  <a:pt x="5103" y="7064"/>
                  <a:pt x="5135" y="7058"/>
                  <a:pt x="5154" y="7045"/>
                </a:cubicBezTo>
                <a:cubicBezTo>
                  <a:pt x="5149" y="7044"/>
                  <a:pt x="5144" y="7043"/>
                  <a:pt x="5138" y="7043"/>
                </a:cubicBezTo>
                <a:close/>
                <a:moveTo>
                  <a:pt x="4451" y="7039"/>
                </a:moveTo>
                <a:cubicBezTo>
                  <a:pt x="4451" y="7051"/>
                  <a:pt x="4418" y="7051"/>
                  <a:pt x="4444" y="7070"/>
                </a:cubicBezTo>
                <a:cubicBezTo>
                  <a:pt x="4470" y="7070"/>
                  <a:pt x="4477" y="7064"/>
                  <a:pt x="4503" y="7070"/>
                </a:cubicBezTo>
                <a:cubicBezTo>
                  <a:pt x="4489" y="7096"/>
                  <a:pt x="4425" y="7096"/>
                  <a:pt x="4406" y="7096"/>
                </a:cubicBezTo>
                <a:cubicBezTo>
                  <a:pt x="4412" y="7083"/>
                  <a:pt x="4432" y="7083"/>
                  <a:pt x="4406" y="7070"/>
                </a:cubicBezTo>
                <a:cubicBezTo>
                  <a:pt x="4438" y="7058"/>
                  <a:pt x="4406" y="7039"/>
                  <a:pt x="4451" y="7039"/>
                </a:cubicBezTo>
                <a:close/>
                <a:moveTo>
                  <a:pt x="4102" y="7013"/>
                </a:moveTo>
                <a:cubicBezTo>
                  <a:pt x="4096" y="7032"/>
                  <a:pt x="4064" y="7032"/>
                  <a:pt x="4038" y="7038"/>
                </a:cubicBezTo>
                <a:cubicBezTo>
                  <a:pt x="4057" y="7019"/>
                  <a:pt x="4076" y="7019"/>
                  <a:pt x="4102" y="7013"/>
                </a:cubicBezTo>
                <a:close/>
                <a:moveTo>
                  <a:pt x="6066" y="7000"/>
                </a:moveTo>
                <a:cubicBezTo>
                  <a:pt x="6078" y="7000"/>
                  <a:pt x="6072" y="7013"/>
                  <a:pt x="6072" y="7019"/>
                </a:cubicBezTo>
                <a:cubicBezTo>
                  <a:pt x="6027" y="7019"/>
                  <a:pt x="5994" y="7070"/>
                  <a:pt x="5923" y="7070"/>
                </a:cubicBezTo>
                <a:cubicBezTo>
                  <a:pt x="5968" y="7045"/>
                  <a:pt x="6021" y="7025"/>
                  <a:pt x="6066" y="7000"/>
                </a:cubicBezTo>
                <a:close/>
                <a:moveTo>
                  <a:pt x="5840" y="6987"/>
                </a:moveTo>
                <a:cubicBezTo>
                  <a:pt x="5859" y="6994"/>
                  <a:pt x="5840" y="7006"/>
                  <a:pt x="5833" y="7013"/>
                </a:cubicBezTo>
                <a:cubicBezTo>
                  <a:pt x="5833" y="7019"/>
                  <a:pt x="5878" y="7013"/>
                  <a:pt x="5885" y="7006"/>
                </a:cubicBezTo>
                <a:cubicBezTo>
                  <a:pt x="5852" y="7044"/>
                  <a:pt x="5730" y="7051"/>
                  <a:pt x="5671" y="7089"/>
                </a:cubicBezTo>
                <a:cubicBezTo>
                  <a:pt x="5653" y="7089"/>
                  <a:pt x="5659" y="7070"/>
                  <a:pt x="5639" y="7070"/>
                </a:cubicBezTo>
                <a:cubicBezTo>
                  <a:pt x="5704" y="7039"/>
                  <a:pt x="5769" y="7019"/>
                  <a:pt x="5840" y="6987"/>
                </a:cubicBezTo>
                <a:close/>
                <a:moveTo>
                  <a:pt x="6291" y="6981"/>
                </a:moveTo>
                <a:cubicBezTo>
                  <a:pt x="6279" y="6994"/>
                  <a:pt x="6260" y="7013"/>
                  <a:pt x="6227" y="7013"/>
                </a:cubicBezTo>
                <a:cubicBezTo>
                  <a:pt x="6246" y="7000"/>
                  <a:pt x="6265" y="6987"/>
                  <a:pt x="6291" y="6981"/>
                </a:cubicBezTo>
                <a:close/>
                <a:moveTo>
                  <a:pt x="5821" y="6953"/>
                </a:moveTo>
                <a:cubicBezTo>
                  <a:pt x="5824" y="6953"/>
                  <a:pt x="5828" y="6953"/>
                  <a:pt x="5833" y="6955"/>
                </a:cubicBezTo>
                <a:cubicBezTo>
                  <a:pt x="5820" y="6974"/>
                  <a:pt x="5781" y="6968"/>
                  <a:pt x="5769" y="6980"/>
                </a:cubicBezTo>
                <a:cubicBezTo>
                  <a:pt x="5756" y="6961"/>
                  <a:pt x="5795" y="6980"/>
                  <a:pt x="5795" y="6955"/>
                </a:cubicBezTo>
                <a:cubicBezTo>
                  <a:pt x="5804" y="6960"/>
                  <a:pt x="5810" y="6954"/>
                  <a:pt x="5821" y="6953"/>
                </a:cubicBezTo>
                <a:close/>
                <a:moveTo>
                  <a:pt x="6040" y="6949"/>
                </a:moveTo>
                <a:cubicBezTo>
                  <a:pt x="6002" y="6975"/>
                  <a:pt x="5956" y="6987"/>
                  <a:pt x="5911" y="7006"/>
                </a:cubicBezTo>
                <a:cubicBezTo>
                  <a:pt x="5930" y="6987"/>
                  <a:pt x="5988" y="6955"/>
                  <a:pt x="6040" y="6949"/>
                </a:cubicBezTo>
                <a:close/>
                <a:moveTo>
                  <a:pt x="6272" y="6937"/>
                </a:moveTo>
                <a:cubicBezTo>
                  <a:pt x="6260" y="6949"/>
                  <a:pt x="6272" y="6949"/>
                  <a:pt x="6272" y="6962"/>
                </a:cubicBezTo>
                <a:cubicBezTo>
                  <a:pt x="6246" y="6975"/>
                  <a:pt x="6227" y="6987"/>
                  <a:pt x="6201" y="6987"/>
                </a:cubicBezTo>
                <a:cubicBezTo>
                  <a:pt x="6220" y="6974"/>
                  <a:pt x="6240" y="6968"/>
                  <a:pt x="6266" y="6962"/>
                </a:cubicBezTo>
                <a:cubicBezTo>
                  <a:pt x="6266" y="6943"/>
                  <a:pt x="6234" y="6962"/>
                  <a:pt x="6240" y="6949"/>
                </a:cubicBezTo>
                <a:cubicBezTo>
                  <a:pt x="6240" y="6924"/>
                  <a:pt x="6253" y="6949"/>
                  <a:pt x="6272" y="6937"/>
                </a:cubicBezTo>
                <a:close/>
                <a:moveTo>
                  <a:pt x="5342" y="6936"/>
                </a:moveTo>
                <a:cubicBezTo>
                  <a:pt x="5330" y="6936"/>
                  <a:pt x="5310" y="6936"/>
                  <a:pt x="5303" y="6942"/>
                </a:cubicBezTo>
                <a:cubicBezTo>
                  <a:pt x="5303" y="6955"/>
                  <a:pt x="5303" y="6961"/>
                  <a:pt x="5316" y="6961"/>
                </a:cubicBezTo>
                <a:cubicBezTo>
                  <a:pt x="5330" y="6955"/>
                  <a:pt x="5336" y="6949"/>
                  <a:pt x="5342" y="6936"/>
                </a:cubicBezTo>
                <a:close/>
                <a:moveTo>
                  <a:pt x="4658" y="6918"/>
                </a:moveTo>
                <a:cubicBezTo>
                  <a:pt x="4670" y="6924"/>
                  <a:pt x="4684" y="6937"/>
                  <a:pt x="4696" y="6949"/>
                </a:cubicBezTo>
                <a:cubicBezTo>
                  <a:pt x="4696" y="6956"/>
                  <a:pt x="4676" y="6949"/>
                  <a:pt x="4676" y="6962"/>
                </a:cubicBezTo>
                <a:cubicBezTo>
                  <a:pt x="4676" y="6975"/>
                  <a:pt x="4690" y="6968"/>
                  <a:pt x="4703" y="6968"/>
                </a:cubicBezTo>
                <a:cubicBezTo>
                  <a:pt x="4690" y="6981"/>
                  <a:pt x="4703" y="7000"/>
                  <a:pt x="4722" y="7000"/>
                </a:cubicBezTo>
                <a:cubicBezTo>
                  <a:pt x="4709" y="7013"/>
                  <a:pt x="4684" y="7025"/>
                  <a:pt x="4664" y="7013"/>
                </a:cubicBezTo>
                <a:cubicBezTo>
                  <a:pt x="4664" y="7000"/>
                  <a:pt x="4684" y="7006"/>
                  <a:pt x="4684" y="6994"/>
                </a:cubicBezTo>
                <a:cubicBezTo>
                  <a:pt x="4664" y="6981"/>
                  <a:pt x="4632" y="7006"/>
                  <a:pt x="4613" y="7013"/>
                </a:cubicBezTo>
                <a:cubicBezTo>
                  <a:pt x="4625" y="7032"/>
                  <a:pt x="4638" y="7006"/>
                  <a:pt x="4658" y="7013"/>
                </a:cubicBezTo>
                <a:cubicBezTo>
                  <a:pt x="4638" y="7025"/>
                  <a:pt x="4619" y="7044"/>
                  <a:pt x="4586" y="7044"/>
                </a:cubicBezTo>
                <a:cubicBezTo>
                  <a:pt x="4586" y="7032"/>
                  <a:pt x="4593" y="7038"/>
                  <a:pt x="4613" y="7032"/>
                </a:cubicBezTo>
                <a:cubicBezTo>
                  <a:pt x="4606" y="7019"/>
                  <a:pt x="4593" y="7019"/>
                  <a:pt x="4580" y="7019"/>
                </a:cubicBezTo>
                <a:cubicBezTo>
                  <a:pt x="4580" y="6993"/>
                  <a:pt x="4580" y="6987"/>
                  <a:pt x="4613" y="6980"/>
                </a:cubicBezTo>
                <a:cubicBezTo>
                  <a:pt x="4619" y="6961"/>
                  <a:pt x="4599" y="6974"/>
                  <a:pt x="4586" y="6968"/>
                </a:cubicBezTo>
                <a:cubicBezTo>
                  <a:pt x="4599" y="6936"/>
                  <a:pt x="4651" y="6955"/>
                  <a:pt x="4658" y="6918"/>
                </a:cubicBezTo>
                <a:close/>
                <a:moveTo>
                  <a:pt x="4586" y="6910"/>
                </a:moveTo>
                <a:cubicBezTo>
                  <a:pt x="4606" y="6917"/>
                  <a:pt x="4599" y="6936"/>
                  <a:pt x="4594" y="6948"/>
                </a:cubicBezTo>
                <a:cubicBezTo>
                  <a:pt x="4567" y="6948"/>
                  <a:pt x="4548" y="6948"/>
                  <a:pt x="4535" y="6942"/>
                </a:cubicBezTo>
                <a:cubicBezTo>
                  <a:pt x="4535" y="6916"/>
                  <a:pt x="4574" y="6923"/>
                  <a:pt x="4586" y="6910"/>
                </a:cubicBezTo>
                <a:close/>
                <a:moveTo>
                  <a:pt x="4684" y="6885"/>
                </a:moveTo>
                <a:cubicBezTo>
                  <a:pt x="4690" y="6891"/>
                  <a:pt x="4651" y="6910"/>
                  <a:pt x="4651" y="6910"/>
                </a:cubicBezTo>
                <a:cubicBezTo>
                  <a:pt x="4631" y="6897"/>
                  <a:pt x="4670" y="6891"/>
                  <a:pt x="4684" y="6885"/>
                </a:cubicBezTo>
                <a:close/>
                <a:moveTo>
                  <a:pt x="2597" y="6885"/>
                </a:moveTo>
                <a:cubicBezTo>
                  <a:pt x="2616" y="6891"/>
                  <a:pt x="2604" y="6910"/>
                  <a:pt x="2597" y="6916"/>
                </a:cubicBezTo>
                <a:cubicBezTo>
                  <a:pt x="2578" y="6916"/>
                  <a:pt x="2597" y="6891"/>
                  <a:pt x="2578" y="6897"/>
                </a:cubicBezTo>
                <a:cubicBezTo>
                  <a:pt x="2578" y="6891"/>
                  <a:pt x="2597" y="6897"/>
                  <a:pt x="2597" y="6885"/>
                </a:cubicBezTo>
                <a:close/>
                <a:moveTo>
                  <a:pt x="5258" y="6878"/>
                </a:moveTo>
                <a:cubicBezTo>
                  <a:pt x="5226" y="6886"/>
                  <a:pt x="5168" y="6859"/>
                  <a:pt x="5168" y="6917"/>
                </a:cubicBezTo>
                <a:cubicBezTo>
                  <a:pt x="5135" y="6930"/>
                  <a:pt x="5078" y="6917"/>
                  <a:pt x="5065" y="6949"/>
                </a:cubicBezTo>
                <a:cubicBezTo>
                  <a:pt x="5104" y="7000"/>
                  <a:pt x="5232" y="6936"/>
                  <a:pt x="5258" y="6878"/>
                </a:cubicBezTo>
                <a:close/>
                <a:moveTo>
                  <a:pt x="4449" y="6869"/>
                </a:moveTo>
                <a:cubicBezTo>
                  <a:pt x="4427" y="6868"/>
                  <a:pt x="4407" y="6886"/>
                  <a:pt x="4412" y="6891"/>
                </a:cubicBezTo>
                <a:cubicBezTo>
                  <a:pt x="4425" y="6891"/>
                  <a:pt x="4457" y="6904"/>
                  <a:pt x="4463" y="6872"/>
                </a:cubicBezTo>
                <a:cubicBezTo>
                  <a:pt x="4459" y="6870"/>
                  <a:pt x="4454" y="6869"/>
                  <a:pt x="4449" y="6869"/>
                </a:cubicBezTo>
                <a:close/>
                <a:moveTo>
                  <a:pt x="4591" y="6849"/>
                </a:moveTo>
                <a:cubicBezTo>
                  <a:pt x="4599" y="6849"/>
                  <a:pt x="4608" y="6854"/>
                  <a:pt x="4618" y="6866"/>
                </a:cubicBezTo>
                <a:cubicBezTo>
                  <a:pt x="4599" y="6878"/>
                  <a:pt x="4547" y="6872"/>
                  <a:pt x="4534" y="6891"/>
                </a:cubicBezTo>
                <a:cubicBezTo>
                  <a:pt x="4534" y="6885"/>
                  <a:pt x="4515" y="6891"/>
                  <a:pt x="4522" y="6872"/>
                </a:cubicBezTo>
                <a:cubicBezTo>
                  <a:pt x="4553" y="6868"/>
                  <a:pt x="4572" y="6848"/>
                  <a:pt x="4591" y="6849"/>
                </a:cubicBezTo>
                <a:close/>
                <a:moveTo>
                  <a:pt x="6769" y="6827"/>
                </a:moveTo>
                <a:cubicBezTo>
                  <a:pt x="6789" y="6865"/>
                  <a:pt x="6685" y="6910"/>
                  <a:pt x="6647" y="6910"/>
                </a:cubicBezTo>
                <a:cubicBezTo>
                  <a:pt x="6679" y="6878"/>
                  <a:pt x="6738" y="6859"/>
                  <a:pt x="6769" y="6827"/>
                </a:cubicBezTo>
                <a:close/>
                <a:moveTo>
                  <a:pt x="5265" y="6827"/>
                </a:moveTo>
                <a:cubicBezTo>
                  <a:pt x="5232" y="6827"/>
                  <a:pt x="5181" y="6840"/>
                  <a:pt x="5200" y="6871"/>
                </a:cubicBezTo>
                <a:cubicBezTo>
                  <a:pt x="5206" y="6840"/>
                  <a:pt x="5232" y="6865"/>
                  <a:pt x="5265" y="6852"/>
                </a:cubicBezTo>
                <a:cubicBezTo>
                  <a:pt x="5265" y="6852"/>
                  <a:pt x="5265" y="6852"/>
                  <a:pt x="5265" y="6827"/>
                </a:cubicBezTo>
                <a:close/>
                <a:moveTo>
                  <a:pt x="5781" y="6796"/>
                </a:moveTo>
                <a:cubicBezTo>
                  <a:pt x="5820" y="6827"/>
                  <a:pt x="5859" y="6827"/>
                  <a:pt x="5891" y="6796"/>
                </a:cubicBezTo>
                <a:cubicBezTo>
                  <a:pt x="5872" y="6814"/>
                  <a:pt x="5904" y="6808"/>
                  <a:pt x="5924" y="6808"/>
                </a:cubicBezTo>
                <a:cubicBezTo>
                  <a:pt x="5885" y="6847"/>
                  <a:pt x="5822" y="6866"/>
                  <a:pt x="5763" y="6878"/>
                </a:cubicBezTo>
                <a:cubicBezTo>
                  <a:pt x="5763" y="6866"/>
                  <a:pt x="5769" y="6866"/>
                  <a:pt x="5769" y="6853"/>
                </a:cubicBezTo>
                <a:cubicBezTo>
                  <a:pt x="5717" y="6847"/>
                  <a:pt x="5717" y="6892"/>
                  <a:pt x="5672" y="6892"/>
                </a:cubicBezTo>
                <a:cubicBezTo>
                  <a:pt x="5685" y="6904"/>
                  <a:pt x="5704" y="6886"/>
                  <a:pt x="5724" y="6886"/>
                </a:cubicBezTo>
                <a:cubicBezTo>
                  <a:pt x="5691" y="6905"/>
                  <a:pt x="5685" y="6943"/>
                  <a:pt x="5626" y="6937"/>
                </a:cubicBezTo>
                <a:cubicBezTo>
                  <a:pt x="5633" y="6911"/>
                  <a:pt x="5626" y="6917"/>
                  <a:pt x="5620" y="6898"/>
                </a:cubicBezTo>
                <a:cubicBezTo>
                  <a:pt x="5652" y="6841"/>
                  <a:pt x="5736" y="6847"/>
                  <a:pt x="5781" y="6796"/>
                </a:cubicBezTo>
                <a:close/>
                <a:moveTo>
                  <a:pt x="5396" y="6775"/>
                </a:moveTo>
                <a:cubicBezTo>
                  <a:pt x="5372" y="6774"/>
                  <a:pt x="5363" y="6791"/>
                  <a:pt x="5368" y="6801"/>
                </a:cubicBezTo>
                <a:cubicBezTo>
                  <a:pt x="5387" y="6801"/>
                  <a:pt x="5407" y="6795"/>
                  <a:pt x="5407" y="6776"/>
                </a:cubicBezTo>
                <a:cubicBezTo>
                  <a:pt x="5403" y="6775"/>
                  <a:pt x="5399" y="6775"/>
                  <a:pt x="5396" y="6775"/>
                </a:cubicBezTo>
                <a:close/>
                <a:moveTo>
                  <a:pt x="4826" y="6769"/>
                </a:moveTo>
                <a:cubicBezTo>
                  <a:pt x="4819" y="6776"/>
                  <a:pt x="4800" y="6776"/>
                  <a:pt x="4806" y="6795"/>
                </a:cubicBezTo>
                <a:cubicBezTo>
                  <a:pt x="4735" y="6795"/>
                  <a:pt x="4696" y="6859"/>
                  <a:pt x="4625" y="6846"/>
                </a:cubicBezTo>
                <a:cubicBezTo>
                  <a:pt x="4677" y="6814"/>
                  <a:pt x="4755" y="6776"/>
                  <a:pt x="4826" y="6769"/>
                </a:cubicBezTo>
                <a:close/>
                <a:moveTo>
                  <a:pt x="4586" y="6751"/>
                </a:moveTo>
                <a:cubicBezTo>
                  <a:pt x="4534" y="6789"/>
                  <a:pt x="4463" y="6840"/>
                  <a:pt x="4380" y="6821"/>
                </a:cubicBezTo>
                <a:cubicBezTo>
                  <a:pt x="4373" y="6802"/>
                  <a:pt x="4406" y="6821"/>
                  <a:pt x="4399" y="6796"/>
                </a:cubicBezTo>
                <a:cubicBezTo>
                  <a:pt x="4406" y="6802"/>
                  <a:pt x="4406" y="6808"/>
                  <a:pt x="4406" y="6814"/>
                </a:cubicBezTo>
                <a:cubicBezTo>
                  <a:pt x="4444" y="6776"/>
                  <a:pt x="4515" y="6763"/>
                  <a:pt x="4586" y="6751"/>
                </a:cubicBezTo>
                <a:close/>
                <a:moveTo>
                  <a:pt x="6053" y="6750"/>
                </a:moveTo>
                <a:cubicBezTo>
                  <a:pt x="6055" y="6750"/>
                  <a:pt x="6057" y="6750"/>
                  <a:pt x="6059" y="6751"/>
                </a:cubicBezTo>
                <a:cubicBezTo>
                  <a:pt x="6039" y="6776"/>
                  <a:pt x="5988" y="6769"/>
                  <a:pt x="5968" y="6796"/>
                </a:cubicBezTo>
                <a:cubicBezTo>
                  <a:pt x="5975" y="6783"/>
                  <a:pt x="6021" y="6749"/>
                  <a:pt x="6053" y="6750"/>
                </a:cubicBezTo>
                <a:close/>
                <a:moveTo>
                  <a:pt x="3391" y="6749"/>
                </a:moveTo>
                <a:cubicBezTo>
                  <a:pt x="3393" y="6749"/>
                  <a:pt x="3396" y="6750"/>
                  <a:pt x="3398" y="6751"/>
                </a:cubicBezTo>
                <a:cubicBezTo>
                  <a:pt x="3398" y="6770"/>
                  <a:pt x="3385" y="6770"/>
                  <a:pt x="3385" y="6789"/>
                </a:cubicBezTo>
                <a:cubicBezTo>
                  <a:pt x="3366" y="6783"/>
                  <a:pt x="3333" y="6796"/>
                  <a:pt x="3327" y="6782"/>
                </a:cubicBezTo>
                <a:cubicBezTo>
                  <a:pt x="3327" y="6757"/>
                  <a:pt x="3372" y="6789"/>
                  <a:pt x="3372" y="6751"/>
                </a:cubicBezTo>
                <a:cubicBezTo>
                  <a:pt x="3377" y="6762"/>
                  <a:pt x="3378" y="6748"/>
                  <a:pt x="3391" y="6749"/>
                </a:cubicBezTo>
                <a:close/>
                <a:moveTo>
                  <a:pt x="5930" y="6744"/>
                </a:moveTo>
                <a:cubicBezTo>
                  <a:pt x="5930" y="6751"/>
                  <a:pt x="5936" y="6757"/>
                  <a:pt x="5936" y="6757"/>
                </a:cubicBezTo>
                <a:cubicBezTo>
                  <a:pt x="5911" y="6777"/>
                  <a:pt x="5885" y="6789"/>
                  <a:pt x="5852" y="6796"/>
                </a:cubicBezTo>
                <a:cubicBezTo>
                  <a:pt x="5852" y="6757"/>
                  <a:pt x="5904" y="6763"/>
                  <a:pt x="5930" y="6744"/>
                </a:cubicBezTo>
                <a:close/>
                <a:moveTo>
                  <a:pt x="6840" y="6732"/>
                </a:moveTo>
                <a:cubicBezTo>
                  <a:pt x="6847" y="6771"/>
                  <a:pt x="6750" y="6816"/>
                  <a:pt x="6685" y="6835"/>
                </a:cubicBezTo>
                <a:cubicBezTo>
                  <a:pt x="6673" y="6841"/>
                  <a:pt x="6692" y="6841"/>
                  <a:pt x="6679" y="6854"/>
                </a:cubicBezTo>
                <a:cubicBezTo>
                  <a:pt x="6589" y="6848"/>
                  <a:pt x="6595" y="6931"/>
                  <a:pt x="6518" y="6937"/>
                </a:cubicBezTo>
                <a:cubicBezTo>
                  <a:pt x="6531" y="6911"/>
                  <a:pt x="6570" y="6923"/>
                  <a:pt x="6576" y="6892"/>
                </a:cubicBezTo>
                <a:cubicBezTo>
                  <a:pt x="6531" y="6892"/>
                  <a:pt x="6518" y="6917"/>
                  <a:pt x="6479" y="6923"/>
                </a:cubicBezTo>
                <a:cubicBezTo>
                  <a:pt x="6576" y="6840"/>
                  <a:pt x="6731" y="6796"/>
                  <a:pt x="6840" y="6732"/>
                </a:cubicBezTo>
                <a:close/>
                <a:moveTo>
                  <a:pt x="4638" y="6725"/>
                </a:moveTo>
                <a:cubicBezTo>
                  <a:pt x="4638" y="6744"/>
                  <a:pt x="4619" y="6751"/>
                  <a:pt x="4599" y="6757"/>
                </a:cubicBezTo>
                <a:cubicBezTo>
                  <a:pt x="4605" y="6751"/>
                  <a:pt x="4605" y="6744"/>
                  <a:pt x="4599" y="6744"/>
                </a:cubicBezTo>
                <a:cubicBezTo>
                  <a:pt x="4605" y="6732"/>
                  <a:pt x="4618" y="6725"/>
                  <a:pt x="4638" y="6725"/>
                </a:cubicBezTo>
                <a:close/>
                <a:moveTo>
                  <a:pt x="666" y="6719"/>
                </a:moveTo>
                <a:cubicBezTo>
                  <a:pt x="692" y="6725"/>
                  <a:pt x="653" y="6732"/>
                  <a:pt x="666" y="6751"/>
                </a:cubicBezTo>
                <a:cubicBezTo>
                  <a:pt x="666" y="6751"/>
                  <a:pt x="666" y="6751"/>
                  <a:pt x="640" y="6751"/>
                </a:cubicBezTo>
                <a:cubicBezTo>
                  <a:pt x="640" y="6732"/>
                  <a:pt x="672" y="6744"/>
                  <a:pt x="666" y="6719"/>
                </a:cubicBezTo>
                <a:close/>
                <a:moveTo>
                  <a:pt x="4941" y="6708"/>
                </a:moveTo>
                <a:cubicBezTo>
                  <a:pt x="4947" y="6707"/>
                  <a:pt x="4953" y="6708"/>
                  <a:pt x="4961" y="6712"/>
                </a:cubicBezTo>
                <a:cubicBezTo>
                  <a:pt x="4948" y="6738"/>
                  <a:pt x="4916" y="6732"/>
                  <a:pt x="4897" y="6756"/>
                </a:cubicBezTo>
                <a:cubicBezTo>
                  <a:pt x="4890" y="6750"/>
                  <a:pt x="4877" y="6750"/>
                  <a:pt x="4877" y="6731"/>
                </a:cubicBezTo>
                <a:cubicBezTo>
                  <a:pt x="4903" y="6741"/>
                  <a:pt x="4917" y="6710"/>
                  <a:pt x="4941" y="6708"/>
                </a:cubicBezTo>
                <a:close/>
                <a:moveTo>
                  <a:pt x="6059" y="6693"/>
                </a:moveTo>
                <a:cubicBezTo>
                  <a:pt x="6033" y="6713"/>
                  <a:pt x="5994" y="6713"/>
                  <a:pt x="5982" y="6744"/>
                </a:cubicBezTo>
                <a:cubicBezTo>
                  <a:pt x="5975" y="6738"/>
                  <a:pt x="5956" y="6738"/>
                  <a:pt x="5949" y="6732"/>
                </a:cubicBezTo>
                <a:cubicBezTo>
                  <a:pt x="5975" y="6712"/>
                  <a:pt x="6014" y="6693"/>
                  <a:pt x="6059" y="6693"/>
                </a:cubicBezTo>
                <a:close/>
                <a:moveTo>
                  <a:pt x="6130" y="6661"/>
                </a:moveTo>
                <a:cubicBezTo>
                  <a:pt x="6143" y="6661"/>
                  <a:pt x="6092" y="6680"/>
                  <a:pt x="6072" y="6687"/>
                </a:cubicBezTo>
                <a:cubicBezTo>
                  <a:pt x="6072" y="6655"/>
                  <a:pt x="6118" y="6674"/>
                  <a:pt x="6130" y="6661"/>
                </a:cubicBezTo>
                <a:close/>
                <a:moveTo>
                  <a:pt x="1667" y="6655"/>
                </a:moveTo>
                <a:cubicBezTo>
                  <a:pt x="1648" y="6706"/>
                  <a:pt x="1602" y="6732"/>
                  <a:pt x="1551" y="6744"/>
                </a:cubicBezTo>
                <a:cubicBezTo>
                  <a:pt x="1564" y="6725"/>
                  <a:pt x="1571" y="6687"/>
                  <a:pt x="1583" y="6661"/>
                </a:cubicBezTo>
                <a:cubicBezTo>
                  <a:pt x="1615" y="6668"/>
                  <a:pt x="1641" y="6674"/>
                  <a:pt x="1667" y="6655"/>
                </a:cubicBezTo>
                <a:close/>
                <a:moveTo>
                  <a:pt x="6027" y="6654"/>
                </a:moveTo>
                <a:cubicBezTo>
                  <a:pt x="6021" y="6680"/>
                  <a:pt x="5962" y="6687"/>
                  <a:pt x="5949" y="6693"/>
                </a:cubicBezTo>
                <a:cubicBezTo>
                  <a:pt x="5962" y="6668"/>
                  <a:pt x="6008" y="6668"/>
                  <a:pt x="6027" y="6654"/>
                </a:cubicBezTo>
                <a:close/>
                <a:moveTo>
                  <a:pt x="3623" y="6624"/>
                </a:moveTo>
                <a:cubicBezTo>
                  <a:pt x="3611" y="6624"/>
                  <a:pt x="3595" y="6636"/>
                  <a:pt x="3599" y="6648"/>
                </a:cubicBezTo>
                <a:cubicBezTo>
                  <a:pt x="3605" y="6661"/>
                  <a:pt x="3624" y="6648"/>
                  <a:pt x="3637" y="6642"/>
                </a:cubicBezTo>
                <a:cubicBezTo>
                  <a:pt x="3637" y="6629"/>
                  <a:pt x="3631" y="6625"/>
                  <a:pt x="3623" y="6624"/>
                </a:cubicBezTo>
                <a:close/>
                <a:moveTo>
                  <a:pt x="6317" y="6623"/>
                </a:moveTo>
                <a:cubicBezTo>
                  <a:pt x="6317" y="6642"/>
                  <a:pt x="6291" y="6642"/>
                  <a:pt x="6279" y="6642"/>
                </a:cubicBezTo>
                <a:cubicBezTo>
                  <a:pt x="6285" y="6635"/>
                  <a:pt x="6298" y="6623"/>
                  <a:pt x="6317" y="6623"/>
                </a:cubicBezTo>
                <a:close/>
                <a:moveTo>
                  <a:pt x="5616" y="6609"/>
                </a:moveTo>
                <a:cubicBezTo>
                  <a:pt x="5605" y="6610"/>
                  <a:pt x="5595" y="6625"/>
                  <a:pt x="5590" y="6634"/>
                </a:cubicBezTo>
                <a:lnTo>
                  <a:pt x="5590" y="6635"/>
                </a:lnTo>
                <a:lnTo>
                  <a:pt x="5588" y="6635"/>
                </a:lnTo>
                <a:cubicBezTo>
                  <a:pt x="5586" y="6641"/>
                  <a:pt x="5586" y="6640"/>
                  <a:pt x="5588" y="6637"/>
                </a:cubicBezTo>
                <a:lnTo>
                  <a:pt x="5590" y="6635"/>
                </a:lnTo>
                <a:lnTo>
                  <a:pt x="5593" y="6633"/>
                </a:lnTo>
                <a:cubicBezTo>
                  <a:pt x="5606" y="6630"/>
                  <a:pt x="5626" y="6632"/>
                  <a:pt x="5620" y="6610"/>
                </a:cubicBezTo>
                <a:cubicBezTo>
                  <a:pt x="5619" y="6610"/>
                  <a:pt x="5618" y="6609"/>
                  <a:pt x="5616" y="6609"/>
                </a:cubicBezTo>
                <a:close/>
                <a:moveTo>
                  <a:pt x="543" y="6604"/>
                </a:moveTo>
                <a:cubicBezTo>
                  <a:pt x="550" y="6604"/>
                  <a:pt x="556" y="6629"/>
                  <a:pt x="576" y="6610"/>
                </a:cubicBezTo>
                <a:cubicBezTo>
                  <a:pt x="595" y="6616"/>
                  <a:pt x="562" y="6616"/>
                  <a:pt x="569" y="6635"/>
                </a:cubicBezTo>
                <a:cubicBezTo>
                  <a:pt x="563" y="6635"/>
                  <a:pt x="556" y="6629"/>
                  <a:pt x="543" y="6629"/>
                </a:cubicBezTo>
                <a:cubicBezTo>
                  <a:pt x="511" y="6673"/>
                  <a:pt x="427" y="6648"/>
                  <a:pt x="407" y="6712"/>
                </a:cubicBezTo>
                <a:cubicBezTo>
                  <a:pt x="395" y="6706"/>
                  <a:pt x="381" y="6706"/>
                  <a:pt x="375" y="6699"/>
                </a:cubicBezTo>
                <a:cubicBezTo>
                  <a:pt x="427" y="6649"/>
                  <a:pt x="492" y="6642"/>
                  <a:pt x="543" y="6604"/>
                </a:cubicBezTo>
                <a:close/>
                <a:moveTo>
                  <a:pt x="1441" y="6603"/>
                </a:moveTo>
                <a:cubicBezTo>
                  <a:pt x="1443" y="6603"/>
                  <a:pt x="1445" y="6603"/>
                  <a:pt x="1447" y="6604"/>
                </a:cubicBezTo>
                <a:cubicBezTo>
                  <a:pt x="1454" y="6623"/>
                  <a:pt x="1434" y="6623"/>
                  <a:pt x="1428" y="6635"/>
                </a:cubicBezTo>
                <a:cubicBezTo>
                  <a:pt x="1435" y="6655"/>
                  <a:pt x="1454" y="6655"/>
                  <a:pt x="1447" y="6687"/>
                </a:cubicBezTo>
                <a:cubicBezTo>
                  <a:pt x="1466" y="6687"/>
                  <a:pt x="1486" y="6687"/>
                  <a:pt x="1498" y="6679"/>
                </a:cubicBezTo>
                <a:cubicBezTo>
                  <a:pt x="1504" y="6712"/>
                  <a:pt x="1518" y="6724"/>
                  <a:pt x="1530" y="6743"/>
                </a:cubicBezTo>
                <a:cubicBezTo>
                  <a:pt x="1485" y="6756"/>
                  <a:pt x="1421" y="6724"/>
                  <a:pt x="1401" y="6795"/>
                </a:cubicBezTo>
                <a:cubicBezTo>
                  <a:pt x="1395" y="6814"/>
                  <a:pt x="1421" y="6801"/>
                  <a:pt x="1421" y="6814"/>
                </a:cubicBezTo>
                <a:cubicBezTo>
                  <a:pt x="1421" y="6839"/>
                  <a:pt x="1402" y="6839"/>
                  <a:pt x="1376" y="6839"/>
                </a:cubicBezTo>
                <a:cubicBezTo>
                  <a:pt x="1382" y="6871"/>
                  <a:pt x="1350" y="6865"/>
                  <a:pt x="1337" y="6884"/>
                </a:cubicBezTo>
                <a:cubicBezTo>
                  <a:pt x="1324" y="6864"/>
                  <a:pt x="1350" y="6858"/>
                  <a:pt x="1357" y="6833"/>
                </a:cubicBezTo>
                <a:cubicBezTo>
                  <a:pt x="1357" y="6820"/>
                  <a:pt x="1357" y="6820"/>
                  <a:pt x="1344" y="6814"/>
                </a:cubicBezTo>
                <a:cubicBezTo>
                  <a:pt x="1331" y="6827"/>
                  <a:pt x="1267" y="6904"/>
                  <a:pt x="1293" y="6852"/>
                </a:cubicBezTo>
                <a:cubicBezTo>
                  <a:pt x="1286" y="6833"/>
                  <a:pt x="1260" y="6840"/>
                  <a:pt x="1260" y="6821"/>
                </a:cubicBezTo>
                <a:cubicBezTo>
                  <a:pt x="1241" y="6821"/>
                  <a:pt x="1260" y="6846"/>
                  <a:pt x="1241" y="6840"/>
                </a:cubicBezTo>
                <a:cubicBezTo>
                  <a:pt x="1253" y="6763"/>
                  <a:pt x="1408" y="6821"/>
                  <a:pt x="1357" y="6712"/>
                </a:cubicBezTo>
                <a:cubicBezTo>
                  <a:pt x="1350" y="6706"/>
                  <a:pt x="1331" y="6706"/>
                  <a:pt x="1324" y="6706"/>
                </a:cubicBezTo>
                <a:cubicBezTo>
                  <a:pt x="1331" y="6667"/>
                  <a:pt x="1383" y="6674"/>
                  <a:pt x="1389" y="6635"/>
                </a:cubicBezTo>
                <a:cubicBezTo>
                  <a:pt x="1438" y="6648"/>
                  <a:pt x="1413" y="6604"/>
                  <a:pt x="1441" y="6603"/>
                </a:cubicBezTo>
                <a:close/>
                <a:moveTo>
                  <a:pt x="3282" y="6578"/>
                </a:moveTo>
                <a:cubicBezTo>
                  <a:pt x="3205" y="6636"/>
                  <a:pt x="3114" y="6674"/>
                  <a:pt x="3036" y="6732"/>
                </a:cubicBezTo>
                <a:cubicBezTo>
                  <a:pt x="3140" y="6687"/>
                  <a:pt x="3230" y="6655"/>
                  <a:pt x="3302" y="6585"/>
                </a:cubicBezTo>
                <a:cubicBezTo>
                  <a:pt x="3295" y="6585"/>
                  <a:pt x="3288" y="6578"/>
                  <a:pt x="3282" y="6578"/>
                </a:cubicBezTo>
                <a:close/>
                <a:moveTo>
                  <a:pt x="6350" y="6540"/>
                </a:moveTo>
                <a:cubicBezTo>
                  <a:pt x="6350" y="6565"/>
                  <a:pt x="6311" y="6578"/>
                  <a:pt x="6305" y="6571"/>
                </a:cubicBezTo>
                <a:cubicBezTo>
                  <a:pt x="6266" y="6597"/>
                  <a:pt x="6234" y="6629"/>
                  <a:pt x="6175" y="6629"/>
                </a:cubicBezTo>
                <a:cubicBezTo>
                  <a:pt x="6214" y="6591"/>
                  <a:pt x="6305" y="6565"/>
                  <a:pt x="6350" y="6540"/>
                </a:cubicBezTo>
                <a:close/>
                <a:moveTo>
                  <a:pt x="5716" y="6521"/>
                </a:moveTo>
                <a:cubicBezTo>
                  <a:pt x="5724" y="6552"/>
                  <a:pt x="5698" y="6552"/>
                  <a:pt x="5690" y="6578"/>
                </a:cubicBezTo>
                <a:cubicBezTo>
                  <a:pt x="5730" y="6572"/>
                  <a:pt x="5769" y="6559"/>
                  <a:pt x="5781" y="6521"/>
                </a:cubicBezTo>
                <a:cubicBezTo>
                  <a:pt x="5755" y="6527"/>
                  <a:pt x="5736" y="6540"/>
                  <a:pt x="5716" y="6521"/>
                </a:cubicBezTo>
                <a:close/>
                <a:moveTo>
                  <a:pt x="4703" y="6521"/>
                </a:moveTo>
                <a:cubicBezTo>
                  <a:pt x="4677" y="6521"/>
                  <a:pt x="4664" y="6533"/>
                  <a:pt x="4651" y="6546"/>
                </a:cubicBezTo>
                <a:cubicBezTo>
                  <a:pt x="4676" y="6552"/>
                  <a:pt x="4676" y="6521"/>
                  <a:pt x="4696" y="6540"/>
                </a:cubicBezTo>
                <a:cubicBezTo>
                  <a:pt x="4696" y="6527"/>
                  <a:pt x="4696" y="6527"/>
                  <a:pt x="4703" y="6521"/>
                </a:cubicBezTo>
                <a:close/>
                <a:moveTo>
                  <a:pt x="1693" y="6508"/>
                </a:moveTo>
                <a:cubicBezTo>
                  <a:pt x="1680" y="6508"/>
                  <a:pt x="1667" y="6521"/>
                  <a:pt x="1661" y="6533"/>
                </a:cubicBezTo>
                <a:cubicBezTo>
                  <a:pt x="1667" y="6533"/>
                  <a:pt x="1667" y="6546"/>
                  <a:pt x="1673" y="6546"/>
                </a:cubicBezTo>
                <a:cubicBezTo>
                  <a:pt x="1699" y="6546"/>
                  <a:pt x="1706" y="6527"/>
                  <a:pt x="1693" y="6508"/>
                </a:cubicBezTo>
                <a:close/>
                <a:moveTo>
                  <a:pt x="1505" y="6501"/>
                </a:moveTo>
                <a:cubicBezTo>
                  <a:pt x="1512" y="6514"/>
                  <a:pt x="1480" y="6540"/>
                  <a:pt x="1454" y="6540"/>
                </a:cubicBezTo>
                <a:cubicBezTo>
                  <a:pt x="1466" y="6520"/>
                  <a:pt x="1492" y="6520"/>
                  <a:pt x="1505" y="6501"/>
                </a:cubicBezTo>
                <a:close/>
                <a:moveTo>
                  <a:pt x="1557" y="6469"/>
                </a:moveTo>
                <a:cubicBezTo>
                  <a:pt x="1577" y="6482"/>
                  <a:pt x="1545" y="6495"/>
                  <a:pt x="1545" y="6501"/>
                </a:cubicBezTo>
                <a:cubicBezTo>
                  <a:pt x="1519" y="6488"/>
                  <a:pt x="1557" y="6482"/>
                  <a:pt x="1557" y="6469"/>
                </a:cubicBezTo>
                <a:close/>
                <a:moveTo>
                  <a:pt x="6092" y="6450"/>
                </a:moveTo>
                <a:cubicBezTo>
                  <a:pt x="6085" y="6469"/>
                  <a:pt x="6105" y="6463"/>
                  <a:pt x="6111" y="6457"/>
                </a:cubicBezTo>
                <a:cubicBezTo>
                  <a:pt x="6118" y="6457"/>
                  <a:pt x="6118" y="6476"/>
                  <a:pt x="6124" y="6482"/>
                </a:cubicBezTo>
                <a:cubicBezTo>
                  <a:pt x="6104" y="6501"/>
                  <a:pt x="6085" y="6514"/>
                  <a:pt x="6053" y="6514"/>
                </a:cubicBezTo>
                <a:cubicBezTo>
                  <a:pt x="6072" y="6488"/>
                  <a:pt x="6059" y="6463"/>
                  <a:pt x="6092" y="6450"/>
                </a:cubicBezTo>
                <a:close/>
                <a:moveTo>
                  <a:pt x="5271" y="6431"/>
                </a:moveTo>
                <a:cubicBezTo>
                  <a:pt x="5265" y="6443"/>
                  <a:pt x="5239" y="6443"/>
                  <a:pt x="5220" y="6450"/>
                </a:cubicBezTo>
                <a:cubicBezTo>
                  <a:pt x="5232" y="6437"/>
                  <a:pt x="5251" y="6431"/>
                  <a:pt x="5271" y="6431"/>
                </a:cubicBezTo>
                <a:close/>
                <a:moveTo>
                  <a:pt x="5998" y="6427"/>
                </a:moveTo>
                <a:lnTo>
                  <a:pt x="5994" y="6431"/>
                </a:lnTo>
                <a:cubicBezTo>
                  <a:pt x="5995" y="6430"/>
                  <a:pt x="5996" y="6429"/>
                  <a:pt x="5997" y="6428"/>
                </a:cubicBezTo>
                <a:lnTo>
                  <a:pt x="5998" y="6427"/>
                </a:lnTo>
                <a:close/>
                <a:moveTo>
                  <a:pt x="7338" y="6405"/>
                </a:moveTo>
                <a:cubicBezTo>
                  <a:pt x="7332" y="6418"/>
                  <a:pt x="7319" y="6424"/>
                  <a:pt x="7306" y="6424"/>
                </a:cubicBezTo>
                <a:cubicBezTo>
                  <a:pt x="7306" y="6405"/>
                  <a:pt x="7319" y="6405"/>
                  <a:pt x="7338" y="6405"/>
                </a:cubicBezTo>
                <a:close/>
                <a:moveTo>
                  <a:pt x="6362" y="6405"/>
                </a:moveTo>
                <a:cubicBezTo>
                  <a:pt x="6343" y="6443"/>
                  <a:pt x="6305" y="6469"/>
                  <a:pt x="6246" y="6469"/>
                </a:cubicBezTo>
                <a:cubicBezTo>
                  <a:pt x="6279" y="6444"/>
                  <a:pt x="6311" y="6412"/>
                  <a:pt x="6362" y="6405"/>
                </a:cubicBezTo>
                <a:close/>
                <a:moveTo>
                  <a:pt x="5348" y="6387"/>
                </a:moveTo>
                <a:cubicBezTo>
                  <a:pt x="5362" y="6393"/>
                  <a:pt x="5368" y="6405"/>
                  <a:pt x="5374" y="6418"/>
                </a:cubicBezTo>
                <a:cubicBezTo>
                  <a:pt x="5361" y="6424"/>
                  <a:pt x="5342" y="6424"/>
                  <a:pt x="5322" y="6418"/>
                </a:cubicBezTo>
                <a:cubicBezTo>
                  <a:pt x="5322" y="6399"/>
                  <a:pt x="5348" y="6405"/>
                  <a:pt x="5348" y="6387"/>
                </a:cubicBezTo>
                <a:close/>
                <a:moveTo>
                  <a:pt x="5411" y="6382"/>
                </a:moveTo>
                <a:cubicBezTo>
                  <a:pt x="5417" y="6382"/>
                  <a:pt x="5423" y="6383"/>
                  <a:pt x="5426" y="6387"/>
                </a:cubicBezTo>
                <a:cubicBezTo>
                  <a:pt x="5426" y="6405"/>
                  <a:pt x="5400" y="6393"/>
                  <a:pt x="5387" y="6412"/>
                </a:cubicBezTo>
                <a:cubicBezTo>
                  <a:pt x="5368" y="6398"/>
                  <a:pt x="5392" y="6383"/>
                  <a:pt x="5411" y="6382"/>
                </a:cubicBezTo>
                <a:close/>
                <a:moveTo>
                  <a:pt x="5504" y="6379"/>
                </a:moveTo>
                <a:cubicBezTo>
                  <a:pt x="5459" y="6431"/>
                  <a:pt x="5407" y="6482"/>
                  <a:pt x="5330" y="6501"/>
                </a:cubicBezTo>
                <a:cubicBezTo>
                  <a:pt x="5310" y="6488"/>
                  <a:pt x="5342" y="6482"/>
                  <a:pt x="5330" y="6462"/>
                </a:cubicBezTo>
                <a:cubicBezTo>
                  <a:pt x="5388" y="6456"/>
                  <a:pt x="5427" y="6386"/>
                  <a:pt x="5504" y="6379"/>
                </a:cubicBezTo>
                <a:close/>
                <a:moveTo>
                  <a:pt x="889" y="6373"/>
                </a:moveTo>
                <a:cubicBezTo>
                  <a:pt x="901" y="6373"/>
                  <a:pt x="913" y="6377"/>
                  <a:pt x="924" y="6387"/>
                </a:cubicBezTo>
                <a:cubicBezTo>
                  <a:pt x="911" y="6432"/>
                  <a:pt x="859" y="6444"/>
                  <a:pt x="814" y="6457"/>
                </a:cubicBezTo>
                <a:cubicBezTo>
                  <a:pt x="819" y="6414"/>
                  <a:pt x="853" y="6374"/>
                  <a:pt x="889" y="6373"/>
                </a:cubicBezTo>
                <a:close/>
                <a:moveTo>
                  <a:pt x="2138" y="6360"/>
                </a:moveTo>
                <a:cubicBezTo>
                  <a:pt x="2145" y="6379"/>
                  <a:pt x="2119" y="6373"/>
                  <a:pt x="2112" y="6379"/>
                </a:cubicBezTo>
                <a:cubicBezTo>
                  <a:pt x="2100" y="6373"/>
                  <a:pt x="2126" y="6360"/>
                  <a:pt x="2138" y="6360"/>
                </a:cubicBezTo>
                <a:close/>
                <a:moveTo>
                  <a:pt x="6137" y="6342"/>
                </a:moveTo>
                <a:cubicBezTo>
                  <a:pt x="6117" y="6386"/>
                  <a:pt x="6059" y="6392"/>
                  <a:pt x="6039" y="6437"/>
                </a:cubicBezTo>
                <a:cubicBezTo>
                  <a:pt x="6028" y="6437"/>
                  <a:pt x="6012" y="6418"/>
                  <a:pt x="5999" y="6426"/>
                </a:cubicBezTo>
                <a:lnTo>
                  <a:pt x="5998" y="6427"/>
                </a:lnTo>
                <a:lnTo>
                  <a:pt x="6000" y="6425"/>
                </a:lnTo>
                <a:cubicBezTo>
                  <a:pt x="6029" y="6395"/>
                  <a:pt x="6088" y="6365"/>
                  <a:pt x="6137" y="6342"/>
                </a:cubicBezTo>
                <a:close/>
                <a:moveTo>
                  <a:pt x="6614" y="6341"/>
                </a:moveTo>
                <a:cubicBezTo>
                  <a:pt x="6628" y="6348"/>
                  <a:pt x="6640" y="6354"/>
                  <a:pt x="6634" y="6379"/>
                </a:cubicBezTo>
                <a:cubicBezTo>
                  <a:pt x="6595" y="6379"/>
                  <a:pt x="6608" y="6431"/>
                  <a:pt x="6563" y="6437"/>
                </a:cubicBezTo>
                <a:cubicBezTo>
                  <a:pt x="6557" y="6463"/>
                  <a:pt x="6602" y="6450"/>
                  <a:pt x="6595" y="6476"/>
                </a:cubicBezTo>
                <a:cubicBezTo>
                  <a:pt x="6583" y="6488"/>
                  <a:pt x="6550" y="6482"/>
                  <a:pt x="6544" y="6501"/>
                </a:cubicBezTo>
                <a:cubicBezTo>
                  <a:pt x="6524" y="6495"/>
                  <a:pt x="6557" y="6482"/>
                  <a:pt x="6557" y="6469"/>
                </a:cubicBezTo>
                <a:cubicBezTo>
                  <a:pt x="6492" y="6437"/>
                  <a:pt x="6447" y="6527"/>
                  <a:pt x="6388" y="6520"/>
                </a:cubicBezTo>
                <a:cubicBezTo>
                  <a:pt x="6376" y="6520"/>
                  <a:pt x="6382" y="6552"/>
                  <a:pt x="6356" y="6539"/>
                </a:cubicBezTo>
                <a:cubicBezTo>
                  <a:pt x="6395" y="6475"/>
                  <a:pt x="6485" y="6456"/>
                  <a:pt x="6517" y="6398"/>
                </a:cubicBezTo>
                <a:cubicBezTo>
                  <a:pt x="6531" y="6398"/>
                  <a:pt x="6524" y="6424"/>
                  <a:pt x="6537" y="6424"/>
                </a:cubicBezTo>
                <a:cubicBezTo>
                  <a:pt x="6563" y="6392"/>
                  <a:pt x="6588" y="6366"/>
                  <a:pt x="6614" y="6341"/>
                </a:cubicBezTo>
                <a:close/>
                <a:moveTo>
                  <a:pt x="5968" y="6322"/>
                </a:moveTo>
                <a:cubicBezTo>
                  <a:pt x="5930" y="6322"/>
                  <a:pt x="5885" y="6342"/>
                  <a:pt x="5897" y="6373"/>
                </a:cubicBezTo>
                <a:cubicBezTo>
                  <a:pt x="5917" y="6348"/>
                  <a:pt x="5956" y="6354"/>
                  <a:pt x="5968" y="6322"/>
                </a:cubicBezTo>
                <a:close/>
                <a:moveTo>
                  <a:pt x="5613" y="6315"/>
                </a:moveTo>
                <a:cubicBezTo>
                  <a:pt x="5588" y="6329"/>
                  <a:pt x="5562" y="6373"/>
                  <a:pt x="5529" y="6360"/>
                </a:cubicBezTo>
                <a:cubicBezTo>
                  <a:pt x="5536" y="6348"/>
                  <a:pt x="5543" y="6342"/>
                  <a:pt x="5548" y="6341"/>
                </a:cubicBezTo>
                <a:cubicBezTo>
                  <a:pt x="5542" y="6328"/>
                  <a:pt x="5529" y="6353"/>
                  <a:pt x="5516" y="6347"/>
                </a:cubicBezTo>
                <a:cubicBezTo>
                  <a:pt x="5542" y="6309"/>
                  <a:pt x="5587" y="6334"/>
                  <a:pt x="5613" y="6315"/>
                </a:cubicBezTo>
                <a:close/>
                <a:moveTo>
                  <a:pt x="5698" y="6309"/>
                </a:moveTo>
                <a:cubicBezTo>
                  <a:pt x="5710" y="6329"/>
                  <a:pt x="5685" y="6354"/>
                  <a:pt x="5659" y="6354"/>
                </a:cubicBezTo>
                <a:cubicBezTo>
                  <a:pt x="5639" y="6328"/>
                  <a:pt x="5685" y="6322"/>
                  <a:pt x="5698" y="6309"/>
                </a:cubicBezTo>
                <a:close/>
                <a:moveTo>
                  <a:pt x="6677" y="6306"/>
                </a:moveTo>
                <a:cubicBezTo>
                  <a:pt x="6680" y="6306"/>
                  <a:pt x="6684" y="6307"/>
                  <a:pt x="6686" y="6310"/>
                </a:cubicBezTo>
                <a:cubicBezTo>
                  <a:pt x="6680" y="6323"/>
                  <a:pt x="6660" y="6316"/>
                  <a:pt x="6660" y="6329"/>
                </a:cubicBezTo>
                <a:cubicBezTo>
                  <a:pt x="6644" y="6324"/>
                  <a:pt x="6662" y="6306"/>
                  <a:pt x="6677" y="6306"/>
                </a:cubicBezTo>
                <a:close/>
                <a:moveTo>
                  <a:pt x="6434" y="6297"/>
                </a:moveTo>
                <a:cubicBezTo>
                  <a:pt x="6434" y="6315"/>
                  <a:pt x="6421" y="6315"/>
                  <a:pt x="6401" y="6315"/>
                </a:cubicBezTo>
                <a:cubicBezTo>
                  <a:pt x="6407" y="6309"/>
                  <a:pt x="6421" y="6303"/>
                  <a:pt x="6434" y="6297"/>
                </a:cubicBezTo>
                <a:close/>
                <a:moveTo>
                  <a:pt x="5458" y="6290"/>
                </a:moveTo>
                <a:cubicBezTo>
                  <a:pt x="5446" y="6315"/>
                  <a:pt x="5420" y="6323"/>
                  <a:pt x="5400" y="6335"/>
                </a:cubicBezTo>
                <a:cubicBezTo>
                  <a:pt x="5387" y="6309"/>
                  <a:pt x="5439" y="6303"/>
                  <a:pt x="5458" y="6290"/>
                </a:cubicBezTo>
                <a:close/>
                <a:moveTo>
                  <a:pt x="7462" y="6270"/>
                </a:moveTo>
                <a:cubicBezTo>
                  <a:pt x="7468" y="6277"/>
                  <a:pt x="7468" y="6289"/>
                  <a:pt x="7474" y="6296"/>
                </a:cubicBezTo>
                <a:cubicBezTo>
                  <a:pt x="7448" y="6302"/>
                  <a:pt x="7442" y="6328"/>
                  <a:pt x="7455" y="6347"/>
                </a:cubicBezTo>
                <a:cubicBezTo>
                  <a:pt x="7436" y="6341"/>
                  <a:pt x="7429" y="6322"/>
                  <a:pt x="7403" y="6315"/>
                </a:cubicBezTo>
                <a:cubicBezTo>
                  <a:pt x="7410" y="6297"/>
                  <a:pt x="7448" y="6335"/>
                  <a:pt x="7455" y="6290"/>
                </a:cubicBezTo>
                <a:cubicBezTo>
                  <a:pt x="7447" y="6290"/>
                  <a:pt x="7441" y="6284"/>
                  <a:pt x="7435" y="6284"/>
                </a:cubicBezTo>
                <a:cubicBezTo>
                  <a:pt x="7428" y="6265"/>
                  <a:pt x="7461" y="6284"/>
                  <a:pt x="7462" y="6270"/>
                </a:cubicBezTo>
                <a:close/>
                <a:moveTo>
                  <a:pt x="5904" y="6259"/>
                </a:moveTo>
                <a:cubicBezTo>
                  <a:pt x="5885" y="6278"/>
                  <a:pt x="5852" y="6278"/>
                  <a:pt x="5840" y="6297"/>
                </a:cubicBezTo>
                <a:cubicBezTo>
                  <a:pt x="5872" y="6304"/>
                  <a:pt x="5930" y="6278"/>
                  <a:pt x="5904" y="6259"/>
                </a:cubicBezTo>
                <a:close/>
                <a:moveTo>
                  <a:pt x="7370" y="6246"/>
                </a:moveTo>
                <a:cubicBezTo>
                  <a:pt x="7377" y="6265"/>
                  <a:pt x="7351" y="6252"/>
                  <a:pt x="7357" y="6271"/>
                </a:cubicBezTo>
                <a:cubicBezTo>
                  <a:pt x="7350" y="6265"/>
                  <a:pt x="7350" y="6259"/>
                  <a:pt x="7338" y="6259"/>
                </a:cubicBezTo>
                <a:cubicBezTo>
                  <a:pt x="7345" y="6252"/>
                  <a:pt x="7357" y="6245"/>
                  <a:pt x="7370" y="6246"/>
                </a:cubicBezTo>
                <a:close/>
                <a:moveTo>
                  <a:pt x="6130" y="6240"/>
                </a:moveTo>
                <a:cubicBezTo>
                  <a:pt x="6085" y="6246"/>
                  <a:pt x="6059" y="6265"/>
                  <a:pt x="6008" y="6271"/>
                </a:cubicBezTo>
                <a:cubicBezTo>
                  <a:pt x="5995" y="6290"/>
                  <a:pt x="6021" y="6290"/>
                  <a:pt x="6008" y="6303"/>
                </a:cubicBezTo>
                <a:cubicBezTo>
                  <a:pt x="6066" y="6303"/>
                  <a:pt x="6098" y="6271"/>
                  <a:pt x="6130" y="6240"/>
                </a:cubicBezTo>
                <a:close/>
                <a:moveTo>
                  <a:pt x="7081" y="6236"/>
                </a:moveTo>
                <a:cubicBezTo>
                  <a:pt x="7090" y="6236"/>
                  <a:pt x="7097" y="6242"/>
                  <a:pt x="7099" y="6259"/>
                </a:cubicBezTo>
                <a:cubicBezTo>
                  <a:pt x="7073" y="6259"/>
                  <a:pt x="7041" y="6265"/>
                  <a:pt x="7028" y="6290"/>
                </a:cubicBezTo>
                <a:cubicBezTo>
                  <a:pt x="7019" y="6277"/>
                  <a:pt x="7056" y="6236"/>
                  <a:pt x="7081" y="6236"/>
                </a:cubicBezTo>
                <a:close/>
                <a:moveTo>
                  <a:pt x="26" y="6233"/>
                </a:moveTo>
                <a:cubicBezTo>
                  <a:pt x="52" y="6245"/>
                  <a:pt x="58" y="6265"/>
                  <a:pt x="91" y="6251"/>
                </a:cubicBezTo>
                <a:cubicBezTo>
                  <a:pt x="97" y="6278"/>
                  <a:pt x="58" y="6265"/>
                  <a:pt x="58" y="6290"/>
                </a:cubicBezTo>
                <a:cubicBezTo>
                  <a:pt x="39" y="6284"/>
                  <a:pt x="26" y="6265"/>
                  <a:pt x="0" y="6271"/>
                </a:cubicBezTo>
                <a:cubicBezTo>
                  <a:pt x="6" y="6251"/>
                  <a:pt x="13" y="6239"/>
                  <a:pt x="26" y="6233"/>
                </a:cubicBezTo>
                <a:close/>
                <a:moveTo>
                  <a:pt x="1370" y="6223"/>
                </a:moveTo>
                <a:cubicBezTo>
                  <a:pt x="1389" y="6222"/>
                  <a:pt x="1407" y="6229"/>
                  <a:pt x="1415" y="6233"/>
                </a:cubicBezTo>
                <a:cubicBezTo>
                  <a:pt x="1396" y="6239"/>
                  <a:pt x="1357" y="6251"/>
                  <a:pt x="1338" y="6233"/>
                </a:cubicBezTo>
                <a:cubicBezTo>
                  <a:pt x="1347" y="6225"/>
                  <a:pt x="1359" y="6223"/>
                  <a:pt x="1370" y="6223"/>
                </a:cubicBezTo>
                <a:close/>
                <a:moveTo>
                  <a:pt x="6452" y="6214"/>
                </a:moveTo>
                <a:cubicBezTo>
                  <a:pt x="6440" y="6240"/>
                  <a:pt x="6427" y="6259"/>
                  <a:pt x="6401" y="6271"/>
                </a:cubicBezTo>
                <a:cubicBezTo>
                  <a:pt x="6401" y="6259"/>
                  <a:pt x="6401" y="6252"/>
                  <a:pt x="6388" y="6252"/>
                </a:cubicBezTo>
                <a:cubicBezTo>
                  <a:pt x="6401" y="6233"/>
                  <a:pt x="6421" y="6220"/>
                  <a:pt x="6452" y="6214"/>
                </a:cubicBezTo>
                <a:close/>
                <a:moveTo>
                  <a:pt x="6705" y="6207"/>
                </a:moveTo>
                <a:cubicBezTo>
                  <a:pt x="6705" y="6207"/>
                  <a:pt x="6711" y="6214"/>
                  <a:pt x="6718" y="6214"/>
                </a:cubicBezTo>
                <a:cubicBezTo>
                  <a:pt x="6711" y="6239"/>
                  <a:pt x="6660" y="6207"/>
                  <a:pt x="6673" y="6259"/>
                </a:cubicBezTo>
                <a:cubicBezTo>
                  <a:pt x="6673" y="6259"/>
                  <a:pt x="6673" y="6259"/>
                  <a:pt x="6634" y="6259"/>
                </a:cubicBezTo>
                <a:cubicBezTo>
                  <a:pt x="6615" y="6290"/>
                  <a:pt x="6576" y="6310"/>
                  <a:pt x="6550" y="6335"/>
                </a:cubicBezTo>
                <a:cubicBezTo>
                  <a:pt x="6486" y="6329"/>
                  <a:pt x="6460" y="6405"/>
                  <a:pt x="6382" y="6405"/>
                </a:cubicBezTo>
                <a:cubicBezTo>
                  <a:pt x="6388" y="6399"/>
                  <a:pt x="6388" y="6393"/>
                  <a:pt x="6376" y="6393"/>
                </a:cubicBezTo>
                <a:cubicBezTo>
                  <a:pt x="6408" y="6360"/>
                  <a:pt x="6460" y="6316"/>
                  <a:pt x="6518" y="6329"/>
                </a:cubicBezTo>
                <a:cubicBezTo>
                  <a:pt x="6569" y="6278"/>
                  <a:pt x="6640" y="6246"/>
                  <a:pt x="6705" y="6207"/>
                </a:cubicBezTo>
                <a:close/>
                <a:moveTo>
                  <a:pt x="3325" y="6205"/>
                </a:moveTo>
                <a:cubicBezTo>
                  <a:pt x="3321" y="6205"/>
                  <a:pt x="3317" y="6206"/>
                  <a:pt x="3314" y="6207"/>
                </a:cubicBezTo>
                <a:cubicBezTo>
                  <a:pt x="3314" y="6207"/>
                  <a:pt x="3314" y="6207"/>
                  <a:pt x="3314" y="6226"/>
                </a:cubicBezTo>
                <a:cubicBezTo>
                  <a:pt x="3333" y="6226"/>
                  <a:pt x="3353" y="6245"/>
                  <a:pt x="3353" y="6214"/>
                </a:cubicBezTo>
                <a:cubicBezTo>
                  <a:pt x="3348" y="6209"/>
                  <a:pt x="3336" y="6204"/>
                  <a:pt x="3325" y="6205"/>
                </a:cubicBezTo>
                <a:close/>
                <a:moveTo>
                  <a:pt x="7687" y="6195"/>
                </a:moveTo>
                <a:cubicBezTo>
                  <a:pt x="7674" y="6201"/>
                  <a:pt x="7654" y="6220"/>
                  <a:pt x="7687" y="6220"/>
                </a:cubicBezTo>
                <a:cubicBezTo>
                  <a:pt x="7668" y="6245"/>
                  <a:pt x="7642" y="6201"/>
                  <a:pt x="7603" y="6220"/>
                </a:cubicBezTo>
                <a:cubicBezTo>
                  <a:pt x="7609" y="6188"/>
                  <a:pt x="7654" y="6201"/>
                  <a:pt x="7687" y="6195"/>
                </a:cubicBezTo>
                <a:close/>
                <a:moveTo>
                  <a:pt x="5930" y="6195"/>
                </a:moveTo>
                <a:cubicBezTo>
                  <a:pt x="5917" y="6226"/>
                  <a:pt x="5866" y="6214"/>
                  <a:pt x="5852" y="6265"/>
                </a:cubicBezTo>
                <a:cubicBezTo>
                  <a:pt x="5885" y="6240"/>
                  <a:pt x="5956" y="6226"/>
                  <a:pt x="5930" y="6195"/>
                </a:cubicBezTo>
                <a:close/>
                <a:moveTo>
                  <a:pt x="6905" y="6181"/>
                </a:moveTo>
                <a:cubicBezTo>
                  <a:pt x="6931" y="6181"/>
                  <a:pt x="6931" y="6214"/>
                  <a:pt x="6956" y="6200"/>
                </a:cubicBezTo>
                <a:cubicBezTo>
                  <a:pt x="6930" y="6232"/>
                  <a:pt x="6859" y="6251"/>
                  <a:pt x="6847" y="6200"/>
                </a:cubicBezTo>
                <a:cubicBezTo>
                  <a:pt x="6866" y="6200"/>
                  <a:pt x="6873" y="6206"/>
                  <a:pt x="6879" y="6213"/>
                </a:cubicBezTo>
                <a:cubicBezTo>
                  <a:pt x="6885" y="6200"/>
                  <a:pt x="6892" y="6188"/>
                  <a:pt x="6905" y="6181"/>
                </a:cubicBezTo>
                <a:close/>
                <a:moveTo>
                  <a:pt x="7583" y="6169"/>
                </a:moveTo>
                <a:cubicBezTo>
                  <a:pt x="7603" y="6175"/>
                  <a:pt x="7590" y="6201"/>
                  <a:pt x="7571" y="6200"/>
                </a:cubicBezTo>
                <a:cubicBezTo>
                  <a:pt x="7564" y="6181"/>
                  <a:pt x="7590" y="6188"/>
                  <a:pt x="7583" y="6169"/>
                </a:cubicBezTo>
                <a:close/>
                <a:moveTo>
                  <a:pt x="1300" y="6168"/>
                </a:moveTo>
                <a:cubicBezTo>
                  <a:pt x="1305" y="6168"/>
                  <a:pt x="1311" y="6168"/>
                  <a:pt x="1317" y="6169"/>
                </a:cubicBezTo>
                <a:cubicBezTo>
                  <a:pt x="1266" y="6200"/>
                  <a:pt x="1233" y="6245"/>
                  <a:pt x="1156" y="6251"/>
                </a:cubicBezTo>
                <a:cubicBezTo>
                  <a:pt x="1117" y="6297"/>
                  <a:pt x="1027" y="6379"/>
                  <a:pt x="937" y="6354"/>
                </a:cubicBezTo>
                <a:cubicBezTo>
                  <a:pt x="963" y="6342"/>
                  <a:pt x="1008" y="6328"/>
                  <a:pt x="1040" y="6297"/>
                </a:cubicBezTo>
                <a:cubicBezTo>
                  <a:pt x="1060" y="6278"/>
                  <a:pt x="1072" y="6251"/>
                  <a:pt x="1111" y="6239"/>
                </a:cubicBezTo>
                <a:cubicBezTo>
                  <a:pt x="1131" y="6233"/>
                  <a:pt x="1117" y="6258"/>
                  <a:pt x="1137" y="6251"/>
                </a:cubicBezTo>
                <a:cubicBezTo>
                  <a:pt x="1151" y="6233"/>
                  <a:pt x="1176" y="6226"/>
                  <a:pt x="1202" y="6226"/>
                </a:cubicBezTo>
                <a:cubicBezTo>
                  <a:pt x="1215" y="6226"/>
                  <a:pt x="1208" y="6207"/>
                  <a:pt x="1208" y="6201"/>
                </a:cubicBezTo>
                <a:cubicBezTo>
                  <a:pt x="1242" y="6190"/>
                  <a:pt x="1261" y="6169"/>
                  <a:pt x="1300" y="6168"/>
                </a:cubicBezTo>
                <a:close/>
                <a:moveTo>
                  <a:pt x="7441" y="6162"/>
                </a:moveTo>
                <a:cubicBezTo>
                  <a:pt x="7455" y="6162"/>
                  <a:pt x="7474" y="6162"/>
                  <a:pt x="7493" y="6169"/>
                </a:cubicBezTo>
                <a:cubicBezTo>
                  <a:pt x="7500" y="6214"/>
                  <a:pt x="7455" y="6207"/>
                  <a:pt x="7435" y="6226"/>
                </a:cubicBezTo>
                <a:cubicBezTo>
                  <a:pt x="7428" y="6207"/>
                  <a:pt x="7467" y="6194"/>
                  <a:pt x="7441" y="6162"/>
                </a:cubicBezTo>
                <a:close/>
                <a:moveTo>
                  <a:pt x="4510" y="6157"/>
                </a:moveTo>
                <a:cubicBezTo>
                  <a:pt x="4465" y="6157"/>
                  <a:pt x="4445" y="6176"/>
                  <a:pt x="4439" y="6208"/>
                </a:cubicBezTo>
                <a:cubicBezTo>
                  <a:pt x="4381" y="6202"/>
                  <a:pt x="4310" y="6278"/>
                  <a:pt x="4245" y="6247"/>
                </a:cubicBezTo>
                <a:cubicBezTo>
                  <a:pt x="4149" y="6298"/>
                  <a:pt x="4052" y="6342"/>
                  <a:pt x="3948" y="6394"/>
                </a:cubicBezTo>
                <a:cubicBezTo>
                  <a:pt x="3967" y="6394"/>
                  <a:pt x="3974" y="6375"/>
                  <a:pt x="4000" y="6381"/>
                </a:cubicBezTo>
                <a:cubicBezTo>
                  <a:pt x="4000" y="6387"/>
                  <a:pt x="4006" y="6387"/>
                  <a:pt x="4012" y="6394"/>
                </a:cubicBezTo>
                <a:cubicBezTo>
                  <a:pt x="3896" y="6400"/>
                  <a:pt x="3819" y="6432"/>
                  <a:pt x="3748" y="6477"/>
                </a:cubicBezTo>
                <a:cubicBezTo>
                  <a:pt x="3812" y="6470"/>
                  <a:pt x="3870" y="6450"/>
                  <a:pt x="3941" y="6432"/>
                </a:cubicBezTo>
                <a:cubicBezTo>
                  <a:pt x="3935" y="6444"/>
                  <a:pt x="3941" y="6450"/>
                  <a:pt x="3948" y="6457"/>
                </a:cubicBezTo>
                <a:cubicBezTo>
                  <a:pt x="3915" y="6464"/>
                  <a:pt x="3832" y="6464"/>
                  <a:pt x="3805" y="6495"/>
                </a:cubicBezTo>
                <a:cubicBezTo>
                  <a:pt x="3741" y="6489"/>
                  <a:pt x="3696" y="6489"/>
                  <a:pt x="3670" y="6521"/>
                </a:cubicBezTo>
                <a:cubicBezTo>
                  <a:pt x="3682" y="6521"/>
                  <a:pt x="3696" y="6521"/>
                  <a:pt x="3702" y="6533"/>
                </a:cubicBezTo>
                <a:cubicBezTo>
                  <a:pt x="3682" y="6546"/>
                  <a:pt x="3663" y="6559"/>
                  <a:pt x="3670" y="6591"/>
                </a:cubicBezTo>
                <a:cubicBezTo>
                  <a:pt x="3682" y="6559"/>
                  <a:pt x="3766" y="6578"/>
                  <a:pt x="3786" y="6540"/>
                </a:cubicBezTo>
                <a:cubicBezTo>
                  <a:pt x="3772" y="6533"/>
                  <a:pt x="3760" y="6540"/>
                  <a:pt x="3760" y="6533"/>
                </a:cubicBezTo>
                <a:cubicBezTo>
                  <a:pt x="3831" y="6553"/>
                  <a:pt x="3908" y="6469"/>
                  <a:pt x="3986" y="6508"/>
                </a:cubicBezTo>
                <a:cubicBezTo>
                  <a:pt x="4037" y="6488"/>
                  <a:pt x="4095" y="6438"/>
                  <a:pt x="4140" y="6457"/>
                </a:cubicBezTo>
                <a:cubicBezTo>
                  <a:pt x="4140" y="6444"/>
                  <a:pt x="4147" y="6444"/>
                  <a:pt x="4147" y="6432"/>
                </a:cubicBezTo>
                <a:cubicBezTo>
                  <a:pt x="4095" y="6438"/>
                  <a:pt x="4024" y="6476"/>
                  <a:pt x="3992" y="6457"/>
                </a:cubicBezTo>
                <a:cubicBezTo>
                  <a:pt x="3992" y="6450"/>
                  <a:pt x="4012" y="6457"/>
                  <a:pt x="4012" y="6444"/>
                </a:cubicBezTo>
                <a:cubicBezTo>
                  <a:pt x="3993" y="6438"/>
                  <a:pt x="3993" y="6450"/>
                  <a:pt x="3973" y="6450"/>
                </a:cubicBezTo>
                <a:cubicBezTo>
                  <a:pt x="3986" y="6424"/>
                  <a:pt x="4005" y="6437"/>
                  <a:pt x="3986" y="6412"/>
                </a:cubicBezTo>
                <a:cubicBezTo>
                  <a:pt x="4031" y="6405"/>
                  <a:pt x="4063" y="6393"/>
                  <a:pt x="4095" y="6380"/>
                </a:cubicBezTo>
                <a:cubicBezTo>
                  <a:pt x="4095" y="6393"/>
                  <a:pt x="4121" y="6380"/>
                  <a:pt x="4115" y="6405"/>
                </a:cubicBezTo>
                <a:cubicBezTo>
                  <a:pt x="4166" y="6348"/>
                  <a:pt x="4218" y="6360"/>
                  <a:pt x="4302" y="6354"/>
                </a:cubicBezTo>
                <a:cubicBezTo>
                  <a:pt x="4315" y="6342"/>
                  <a:pt x="4308" y="6335"/>
                  <a:pt x="4302" y="6323"/>
                </a:cubicBezTo>
                <a:cubicBezTo>
                  <a:pt x="4386" y="6290"/>
                  <a:pt x="4509" y="6271"/>
                  <a:pt x="4606" y="6202"/>
                </a:cubicBezTo>
                <a:cubicBezTo>
                  <a:pt x="4561" y="6195"/>
                  <a:pt x="4510" y="6240"/>
                  <a:pt x="4484" y="6214"/>
                </a:cubicBezTo>
                <a:cubicBezTo>
                  <a:pt x="4510" y="6208"/>
                  <a:pt x="4497" y="6188"/>
                  <a:pt x="4510" y="6157"/>
                </a:cubicBezTo>
                <a:close/>
                <a:moveTo>
                  <a:pt x="6892" y="6131"/>
                </a:moveTo>
                <a:cubicBezTo>
                  <a:pt x="6886" y="6150"/>
                  <a:pt x="6873" y="6156"/>
                  <a:pt x="6847" y="6156"/>
                </a:cubicBezTo>
                <a:cubicBezTo>
                  <a:pt x="6854" y="6137"/>
                  <a:pt x="6873" y="6137"/>
                  <a:pt x="6892" y="6131"/>
                </a:cubicBezTo>
                <a:close/>
                <a:moveTo>
                  <a:pt x="1105" y="6124"/>
                </a:moveTo>
                <a:cubicBezTo>
                  <a:pt x="1098" y="6143"/>
                  <a:pt x="1086" y="6150"/>
                  <a:pt x="1060" y="6150"/>
                </a:cubicBezTo>
                <a:cubicBezTo>
                  <a:pt x="1079" y="6143"/>
                  <a:pt x="1079" y="6124"/>
                  <a:pt x="1105" y="6124"/>
                </a:cubicBezTo>
                <a:close/>
                <a:moveTo>
                  <a:pt x="246" y="6118"/>
                </a:moveTo>
                <a:cubicBezTo>
                  <a:pt x="232" y="6143"/>
                  <a:pt x="239" y="6163"/>
                  <a:pt x="220" y="6188"/>
                </a:cubicBezTo>
                <a:cubicBezTo>
                  <a:pt x="188" y="6195"/>
                  <a:pt x="181" y="6163"/>
                  <a:pt x="168" y="6188"/>
                </a:cubicBezTo>
                <a:cubicBezTo>
                  <a:pt x="175" y="6169"/>
                  <a:pt x="207" y="6124"/>
                  <a:pt x="246" y="6118"/>
                </a:cubicBezTo>
                <a:close/>
                <a:moveTo>
                  <a:pt x="7178" y="6105"/>
                </a:moveTo>
                <a:cubicBezTo>
                  <a:pt x="7185" y="6105"/>
                  <a:pt x="7192" y="6106"/>
                  <a:pt x="7196" y="6111"/>
                </a:cubicBezTo>
                <a:cubicBezTo>
                  <a:pt x="7189" y="6131"/>
                  <a:pt x="7170" y="6105"/>
                  <a:pt x="7151" y="6124"/>
                </a:cubicBezTo>
                <a:cubicBezTo>
                  <a:pt x="7158" y="6117"/>
                  <a:pt x="7158" y="6111"/>
                  <a:pt x="7151" y="6111"/>
                </a:cubicBezTo>
                <a:cubicBezTo>
                  <a:pt x="7155" y="6111"/>
                  <a:pt x="7167" y="6106"/>
                  <a:pt x="7178" y="6105"/>
                </a:cubicBezTo>
                <a:close/>
                <a:moveTo>
                  <a:pt x="6066" y="6105"/>
                </a:moveTo>
                <a:cubicBezTo>
                  <a:pt x="6053" y="6124"/>
                  <a:pt x="5982" y="6130"/>
                  <a:pt x="5994" y="6175"/>
                </a:cubicBezTo>
                <a:cubicBezTo>
                  <a:pt x="5988" y="6175"/>
                  <a:pt x="5982" y="6175"/>
                  <a:pt x="5982" y="6181"/>
                </a:cubicBezTo>
                <a:cubicBezTo>
                  <a:pt x="5982" y="6175"/>
                  <a:pt x="5982" y="6162"/>
                  <a:pt x="5975" y="6162"/>
                </a:cubicBezTo>
                <a:cubicBezTo>
                  <a:pt x="5962" y="6175"/>
                  <a:pt x="5975" y="6175"/>
                  <a:pt x="5975" y="6195"/>
                </a:cubicBezTo>
                <a:cubicBezTo>
                  <a:pt x="6001" y="6188"/>
                  <a:pt x="6013" y="6163"/>
                  <a:pt x="6033" y="6188"/>
                </a:cubicBezTo>
                <a:cubicBezTo>
                  <a:pt x="6047" y="6175"/>
                  <a:pt x="6053" y="6162"/>
                  <a:pt x="6059" y="6150"/>
                </a:cubicBezTo>
                <a:cubicBezTo>
                  <a:pt x="6047" y="6131"/>
                  <a:pt x="6033" y="6169"/>
                  <a:pt x="6021" y="6150"/>
                </a:cubicBezTo>
                <a:cubicBezTo>
                  <a:pt x="6039" y="6150"/>
                  <a:pt x="6085" y="6111"/>
                  <a:pt x="6066" y="6105"/>
                </a:cubicBezTo>
                <a:close/>
                <a:moveTo>
                  <a:pt x="1596" y="6093"/>
                </a:moveTo>
                <a:cubicBezTo>
                  <a:pt x="1596" y="6137"/>
                  <a:pt x="1602" y="6137"/>
                  <a:pt x="1602" y="6188"/>
                </a:cubicBezTo>
                <a:cubicBezTo>
                  <a:pt x="1596" y="6162"/>
                  <a:pt x="1570" y="6137"/>
                  <a:pt x="1531" y="6150"/>
                </a:cubicBezTo>
                <a:cubicBezTo>
                  <a:pt x="1525" y="6143"/>
                  <a:pt x="1525" y="6137"/>
                  <a:pt x="1525" y="6124"/>
                </a:cubicBezTo>
                <a:cubicBezTo>
                  <a:pt x="1551" y="6111"/>
                  <a:pt x="1564" y="6092"/>
                  <a:pt x="1596" y="6093"/>
                </a:cubicBezTo>
                <a:close/>
                <a:moveTo>
                  <a:pt x="6951" y="6085"/>
                </a:moveTo>
                <a:lnTo>
                  <a:pt x="6951" y="6086"/>
                </a:lnTo>
                <a:lnTo>
                  <a:pt x="6951" y="6086"/>
                </a:lnTo>
                <a:lnTo>
                  <a:pt x="6951" y="6085"/>
                </a:lnTo>
                <a:close/>
                <a:moveTo>
                  <a:pt x="6932" y="6084"/>
                </a:moveTo>
                <a:cubicBezTo>
                  <a:pt x="6939" y="6085"/>
                  <a:pt x="6948" y="6089"/>
                  <a:pt x="6951" y="6086"/>
                </a:cubicBezTo>
                <a:lnTo>
                  <a:pt x="6951" y="6086"/>
                </a:lnTo>
                <a:lnTo>
                  <a:pt x="6951" y="6090"/>
                </a:lnTo>
                <a:cubicBezTo>
                  <a:pt x="6957" y="6129"/>
                  <a:pt x="6950" y="6098"/>
                  <a:pt x="6925" y="6092"/>
                </a:cubicBezTo>
                <a:cubicBezTo>
                  <a:pt x="6925" y="6086"/>
                  <a:pt x="6928" y="6084"/>
                  <a:pt x="6932" y="6084"/>
                </a:cubicBezTo>
                <a:close/>
                <a:moveTo>
                  <a:pt x="6951" y="6079"/>
                </a:moveTo>
                <a:cubicBezTo>
                  <a:pt x="6956" y="6079"/>
                  <a:pt x="6952" y="6084"/>
                  <a:pt x="6951" y="6085"/>
                </a:cubicBezTo>
                <a:lnTo>
                  <a:pt x="6951" y="6085"/>
                </a:lnTo>
                <a:lnTo>
                  <a:pt x="6951" y="6085"/>
                </a:lnTo>
                <a:cubicBezTo>
                  <a:pt x="6952" y="6083"/>
                  <a:pt x="6952" y="6082"/>
                  <a:pt x="6951" y="6079"/>
                </a:cubicBezTo>
                <a:close/>
                <a:moveTo>
                  <a:pt x="6298" y="6079"/>
                </a:moveTo>
                <a:cubicBezTo>
                  <a:pt x="6298" y="6079"/>
                  <a:pt x="6298" y="6079"/>
                  <a:pt x="6298" y="6098"/>
                </a:cubicBezTo>
                <a:cubicBezTo>
                  <a:pt x="6291" y="6111"/>
                  <a:pt x="6279" y="6086"/>
                  <a:pt x="6279" y="6105"/>
                </a:cubicBezTo>
                <a:cubicBezTo>
                  <a:pt x="6266" y="6098"/>
                  <a:pt x="6285" y="6079"/>
                  <a:pt x="6298" y="6079"/>
                </a:cubicBezTo>
                <a:close/>
                <a:moveTo>
                  <a:pt x="582" y="6079"/>
                </a:moveTo>
                <a:cubicBezTo>
                  <a:pt x="588" y="6079"/>
                  <a:pt x="588" y="6092"/>
                  <a:pt x="588" y="6105"/>
                </a:cubicBezTo>
                <a:cubicBezTo>
                  <a:pt x="588" y="6105"/>
                  <a:pt x="588" y="6105"/>
                  <a:pt x="562" y="6105"/>
                </a:cubicBezTo>
                <a:cubicBezTo>
                  <a:pt x="562" y="6092"/>
                  <a:pt x="576" y="6092"/>
                  <a:pt x="582" y="6079"/>
                </a:cubicBezTo>
                <a:close/>
                <a:moveTo>
                  <a:pt x="860" y="6079"/>
                </a:moveTo>
                <a:cubicBezTo>
                  <a:pt x="873" y="6086"/>
                  <a:pt x="866" y="6124"/>
                  <a:pt x="840" y="6117"/>
                </a:cubicBezTo>
                <a:cubicBezTo>
                  <a:pt x="828" y="6098"/>
                  <a:pt x="853" y="6086"/>
                  <a:pt x="860" y="6079"/>
                </a:cubicBezTo>
                <a:close/>
                <a:moveTo>
                  <a:pt x="6104" y="6073"/>
                </a:moveTo>
                <a:cubicBezTo>
                  <a:pt x="6098" y="6098"/>
                  <a:pt x="6098" y="6098"/>
                  <a:pt x="6078" y="6118"/>
                </a:cubicBezTo>
                <a:cubicBezTo>
                  <a:pt x="6104" y="6118"/>
                  <a:pt x="6130" y="6086"/>
                  <a:pt x="6104" y="6073"/>
                </a:cubicBezTo>
                <a:close/>
                <a:moveTo>
                  <a:pt x="7054" y="6054"/>
                </a:moveTo>
                <a:cubicBezTo>
                  <a:pt x="7047" y="6073"/>
                  <a:pt x="7047" y="6086"/>
                  <a:pt x="7035" y="6105"/>
                </a:cubicBezTo>
                <a:cubicBezTo>
                  <a:pt x="7009" y="6105"/>
                  <a:pt x="7042" y="6079"/>
                  <a:pt x="7015" y="6079"/>
                </a:cubicBezTo>
                <a:cubicBezTo>
                  <a:pt x="7028" y="6067"/>
                  <a:pt x="7034" y="6079"/>
                  <a:pt x="7054" y="6054"/>
                </a:cubicBezTo>
                <a:close/>
                <a:moveTo>
                  <a:pt x="2067" y="6048"/>
                </a:moveTo>
                <a:cubicBezTo>
                  <a:pt x="2043" y="6047"/>
                  <a:pt x="2015" y="6066"/>
                  <a:pt x="2022" y="6105"/>
                </a:cubicBezTo>
                <a:cubicBezTo>
                  <a:pt x="2029" y="6118"/>
                  <a:pt x="2048" y="6099"/>
                  <a:pt x="2048" y="6112"/>
                </a:cubicBezTo>
                <a:cubicBezTo>
                  <a:pt x="2055" y="6118"/>
                  <a:pt x="2036" y="6137"/>
                  <a:pt x="2048" y="6137"/>
                </a:cubicBezTo>
                <a:cubicBezTo>
                  <a:pt x="2080" y="6137"/>
                  <a:pt x="2112" y="6124"/>
                  <a:pt x="2132" y="6105"/>
                </a:cubicBezTo>
                <a:cubicBezTo>
                  <a:pt x="2113" y="6105"/>
                  <a:pt x="2132" y="6099"/>
                  <a:pt x="2126" y="6086"/>
                </a:cubicBezTo>
                <a:cubicBezTo>
                  <a:pt x="2126" y="6086"/>
                  <a:pt x="2126" y="6086"/>
                  <a:pt x="2100" y="6086"/>
                </a:cubicBezTo>
                <a:cubicBezTo>
                  <a:pt x="2103" y="6061"/>
                  <a:pt x="2086" y="6048"/>
                  <a:pt x="2067" y="6048"/>
                </a:cubicBezTo>
                <a:close/>
                <a:moveTo>
                  <a:pt x="7344" y="6035"/>
                </a:moveTo>
                <a:cubicBezTo>
                  <a:pt x="7344" y="6035"/>
                  <a:pt x="7344" y="6035"/>
                  <a:pt x="7364" y="6035"/>
                </a:cubicBezTo>
                <a:cubicBezTo>
                  <a:pt x="7370" y="6054"/>
                  <a:pt x="7357" y="6060"/>
                  <a:pt x="7338" y="6054"/>
                </a:cubicBezTo>
                <a:cubicBezTo>
                  <a:pt x="7338" y="6047"/>
                  <a:pt x="7351" y="6041"/>
                  <a:pt x="7344" y="6035"/>
                </a:cubicBezTo>
                <a:close/>
                <a:moveTo>
                  <a:pt x="4888" y="6033"/>
                </a:moveTo>
                <a:cubicBezTo>
                  <a:pt x="4828" y="6034"/>
                  <a:pt x="4793" y="6056"/>
                  <a:pt x="4754" y="6079"/>
                </a:cubicBezTo>
                <a:cubicBezTo>
                  <a:pt x="4754" y="6060"/>
                  <a:pt x="4729" y="6072"/>
                  <a:pt x="4741" y="6047"/>
                </a:cubicBezTo>
                <a:cubicBezTo>
                  <a:pt x="4722" y="6053"/>
                  <a:pt x="4710" y="6066"/>
                  <a:pt x="4690" y="6066"/>
                </a:cubicBezTo>
                <a:cubicBezTo>
                  <a:pt x="4696" y="6105"/>
                  <a:pt x="4651" y="6098"/>
                  <a:pt x="4645" y="6124"/>
                </a:cubicBezTo>
                <a:cubicBezTo>
                  <a:pt x="4677" y="6136"/>
                  <a:pt x="4716" y="6162"/>
                  <a:pt x="4755" y="6124"/>
                </a:cubicBezTo>
                <a:cubicBezTo>
                  <a:pt x="4761" y="6105"/>
                  <a:pt x="4741" y="6098"/>
                  <a:pt x="4761" y="6092"/>
                </a:cubicBezTo>
                <a:cubicBezTo>
                  <a:pt x="4774" y="6124"/>
                  <a:pt x="4826" y="6092"/>
                  <a:pt x="4871" y="6092"/>
                </a:cubicBezTo>
                <a:cubicBezTo>
                  <a:pt x="4877" y="6073"/>
                  <a:pt x="4864" y="6073"/>
                  <a:pt x="4871" y="6060"/>
                </a:cubicBezTo>
                <a:cubicBezTo>
                  <a:pt x="4883" y="6073"/>
                  <a:pt x="4883" y="6060"/>
                  <a:pt x="4903" y="6060"/>
                </a:cubicBezTo>
                <a:cubicBezTo>
                  <a:pt x="4897" y="6041"/>
                  <a:pt x="4909" y="6041"/>
                  <a:pt x="4915" y="6034"/>
                </a:cubicBezTo>
                <a:cubicBezTo>
                  <a:pt x="4905" y="6033"/>
                  <a:pt x="4896" y="6032"/>
                  <a:pt x="4888" y="6033"/>
                </a:cubicBezTo>
                <a:close/>
                <a:moveTo>
                  <a:pt x="446" y="6031"/>
                </a:moveTo>
                <a:cubicBezTo>
                  <a:pt x="454" y="6031"/>
                  <a:pt x="461" y="6034"/>
                  <a:pt x="466" y="6041"/>
                </a:cubicBezTo>
                <a:cubicBezTo>
                  <a:pt x="459" y="6060"/>
                  <a:pt x="434" y="6054"/>
                  <a:pt x="415" y="6053"/>
                </a:cubicBezTo>
                <a:cubicBezTo>
                  <a:pt x="419" y="6041"/>
                  <a:pt x="433" y="6032"/>
                  <a:pt x="446" y="6031"/>
                </a:cubicBezTo>
                <a:close/>
                <a:moveTo>
                  <a:pt x="1286" y="6028"/>
                </a:moveTo>
                <a:cubicBezTo>
                  <a:pt x="1286" y="6041"/>
                  <a:pt x="1273" y="6041"/>
                  <a:pt x="1260" y="6041"/>
                </a:cubicBezTo>
                <a:cubicBezTo>
                  <a:pt x="1253" y="6028"/>
                  <a:pt x="1273" y="6028"/>
                  <a:pt x="1286" y="6028"/>
                </a:cubicBezTo>
                <a:close/>
                <a:moveTo>
                  <a:pt x="7692" y="6022"/>
                </a:moveTo>
                <a:cubicBezTo>
                  <a:pt x="7700" y="6021"/>
                  <a:pt x="7710" y="6023"/>
                  <a:pt x="7720" y="6028"/>
                </a:cubicBezTo>
                <a:cubicBezTo>
                  <a:pt x="7661" y="6092"/>
                  <a:pt x="7597" y="6111"/>
                  <a:pt x="7519" y="6156"/>
                </a:cubicBezTo>
                <a:cubicBezTo>
                  <a:pt x="7519" y="6124"/>
                  <a:pt x="7564" y="6130"/>
                  <a:pt x="7564" y="6098"/>
                </a:cubicBezTo>
                <a:cubicBezTo>
                  <a:pt x="7619" y="6093"/>
                  <a:pt x="7645" y="6024"/>
                  <a:pt x="7692" y="6022"/>
                </a:cubicBezTo>
                <a:close/>
                <a:moveTo>
                  <a:pt x="4959" y="6014"/>
                </a:moveTo>
                <a:cubicBezTo>
                  <a:pt x="4942" y="6014"/>
                  <a:pt x="4941" y="6030"/>
                  <a:pt x="4935" y="6041"/>
                </a:cubicBezTo>
                <a:cubicBezTo>
                  <a:pt x="4954" y="6041"/>
                  <a:pt x="4968" y="6034"/>
                  <a:pt x="4968" y="6015"/>
                </a:cubicBezTo>
                <a:cubicBezTo>
                  <a:pt x="4965" y="6015"/>
                  <a:pt x="4962" y="6014"/>
                  <a:pt x="4959" y="6014"/>
                </a:cubicBezTo>
                <a:close/>
                <a:moveTo>
                  <a:pt x="4755" y="6009"/>
                </a:moveTo>
                <a:cubicBezTo>
                  <a:pt x="4722" y="6009"/>
                  <a:pt x="4703" y="6022"/>
                  <a:pt x="4696" y="6041"/>
                </a:cubicBezTo>
                <a:cubicBezTo>
                  <a:pt x="4716" y="6028"/>
                  <a:pt x="4761" y="6041"/>
                  <a:pt x="4755" y="6009"/>
                </a:cubicBezTo>
                <a:close/>
                <a:moveTo>
                  <a:pt x="1583" y="6009"/>
                </a:moveTo>
                <a:cubicBezTo>
                  <a:pt x="1583" y="6015"/>
                  <a:pt x="1576" y="6015"/>
                  <a:pt x="1570" y="6028"/>
                </a:cubicBezTo>
                <a:cubicBezTo>
                  <a:pt x="1583" y="6022"/>
                  <a:pt x="1583" y="6034"/>
                  <a:pt x="1602" y="6034"/>
                </a:cubicBezTo>
                <a:cubicBezTo>
                  <a:pt x="1595" y="6022"/>
                  <a:pt x="1595" y="6009"/>
                  <a:pt x="1583" y="6009"/>
                </a:cubicBezTo>
                <a:close/>
                <a:moveTo>
                  <a:pt x="6272" y="5990"/>
                </a:moveTo>
                <a:cubicBezTo>
                  <a:pt x="6246" y="5996"/>
                  <a:pt x="6240" y="6015"/>
                  <a:pt x="6221" y="6029"/>
                </a:cubicBezTo>
                <a:cubicBezTo>
                  <a:pt x="6246" y="6041"/>
                  <a:pt x="6260" y="6003"/>
                  <a:pt x="6272" y="5990"/>
                </a:cubicBezTo>
                <a:close/>
                <a:moveTo>
                  <a:pt x="6082" y="5989"/>
                </a:moveTo>
                <a:cubicBezTo>
                  <a:pt x="6083" y="5989"/>
                  <a:pt x="6084" y="5990"/>
                  <a:pt x="6085" y="5990"/>
                </a:cubicBezTo>
                <a:cubicBezTo>
                  <a:pt x="6085" y="5990"/>
                  <a:pt x="6085" y="5990"/>
                  <a:pt x="6085" y="6015"/>
                </a:cubicBezTo>
                <a:cubicBezTo>
                  <a:pt x="6067" y="6021"/>
                  <a:pt x="6066" y="5988"/>
                  <a:pt x="6082" y="5989"/>
                </a:cubicBezTo>
                <a:close/>
                <a:moveTo>
                  <a:pt x="6679" y="5989"/>
                </a:moveTo>
                <a:cubicBezTo>
                  <a:pt x="6666" y="5988"/>
                  <a:pt x="6664" y="6002"/>
                  <a:pt x="6647" y="5996"/>
                </a:cubicBezTo>
                <a:cubicBezTo>
                  <a:pt x="6647" y="6022"/>
                  <a:pt x="6653" y="6034"/>
                  <a:pt x="6653" y="6054"/>
                </a:cubicBezTo>
                <a:cubicBezTo>
                  <a:pt x="6679" y="6054"/>
                  <a:pt x="6698" y="5990"/>
                  <a:pt x="6692" y="5996"/>
                </a:cubicBezTo>
                <a:cubicBezTo>
                  <a:pt x="6692" y="6003"/>
                  <a:pt x="6679" y="6003"/>
                  <a:pt x="6685" y="5990"/>
                </a:cubicBezTo>
                <a:cubicBezTo>
                  <a:pt x="6683" y="5989"/>
                  <a:pt x="6681" y="5989"/>
                  <a:pt x="6679" y="5989"/>
                </a:cubicBezTo>
                <a:close/>
                <a:moveTo>
                  <a:pt x="5026" y="5984"/>
                </a:moveTo>
                <a:cubicBezTo>
                  <a:pt x="5033" y="6009"/>
                  <a:pt x="4974" y="5977"/>
                  <a:pt x="4974" y="6015"/>
                </a:cubicBezTo>
                <a:cubicBezTo>
                  <a:pt x="5000" y="6015"/>
                  <a:pt x="5052" y="5996"/>
                  <a:pt x="5026" y="5984"/>
                </a:cubicBezTo>
                <a:close/>
                <a:moveTo>
                  <a:pt x="4711" y="5961"/>
                </a:moveTo>
                <a:cubicBezTo>
                  <a:pt x="4703" y="5962"/>
                  <a:pt x="4696" y="5964"/>
                  <a:pt x="4684" y="5964"/>
                </a:cubicBezTo>
                <a:cubicBezTo>
                  <a:pt x="4690" y="5977"/>
                  <a:pt x="4677" y="6009"/>
                  <a:pt x="4690" y="6008"/>
                </a:cubicBezTo>
                <a:cubicBezTo>
                  <a:pt x="4690" y="5977"/>
                  <a:pt x="4716" y="6008"/>
                  <a:pt x="4729" y="5989"/>
                </a:cubicBezTo>
                <a:cubicBezTo>
                  <a:pt x="4729" y="5989"/>
                  <a:pt x="4729" y="5989"/>
                  <a:pt x="4729" y="5964"/>
                </a:cubicBezTo>
                <a:cubicBezTo>
                  <a:pt x="4721" y="5962"/>
                  <a:pt x="4716" y="5961"/>
                  <a:pt x="4711" y="5961"/>
                </a:cubicBezTo>
                <a:close/>
                <a:moveTo>
                  <a:pt x="1732" y="5958"/>
                </a:moveTo>
                <a:cubicBezTo>
                  <a:pt x="1738" y="5964"/>
                  <a:pt x="1744" y="5970"/>
                  <a:pt x="1744" y="5977"/>
                </a:cubicBezTo>
                <a:cubicBezTo>
                  <a:pt x="1757" y="5970"/>
                  <a:pt x="1777" y="5977"/>
                  <a:pt x="1770" y="5958"/>
                </a:cubicBezTo>
                <a:cubicBezTo>
                  <a:pt x="1758" y="5958"/>
                  <a:pt x="1738" y="5958"/>
                  <a:pt x="1732" y="5958"/>
                </a:cubicBezTo>
                <a:close/>
                <a:moveTo>
                  <a:pt x="6873" y="5957"/>
                </a:moveTo>
                <a:cubicBezTo>
                  <a:pt x="6892" y="5963"/>
                  <a:pt x="6899" y="5976"/>
                  <a:pt x="6912" y="5976"/>
                </a:cubicBezTo>
                <a:cubicBezTo>
                  <a:pt x="6912" y="5982"/>
                  <a:pt x="6906" y="5989"/>
                  <a:pt x="6906" y="5995"/>
                </a:cubicBezTo>
                <a:cubicBezTo>
                  <a:pt x="6906" y="6014"/>
                  <a:pt x="6913" y="5982"/>
                  <a:pt x="6925" y="5989"/>
                </a:cubicBezTo>
                <a:cubicBezTo>
                  <a:pt x="6932" y="6015"/>
                  <a:pt x="6906" y="6015"/>
                  <a:pt x="6899" y="6027"/>
                </a:cubicBezTo>
                <a:cubicBezTo>
                  <a:pt x="6880" y="6027"/>
                  <a:pt x="6887" y="6008"/>
                  <a:pt x="6861" y="6015"/>
                </a:cubicBezTo>
                <a:cubicBezTo>
                  <a:pt x="6867" y="6002"/>
                  <a:pt x="6880" y="6002"/>
                  <a:pt x="6873" y="5983"/>
                </a:cubicBezTo>
                <a:cubicBezTo>
                  <a:pt x="6854" y="5990"/>
                  <a:pt x="6866" y="6022"/>
                  <a:pt x="6835" y="6015"/>
                </a:cubicBezTo>
                <a:cubicBezTo>
                  <a:pt x="6828" y="5976"/>
                  <a:pt x="6867" y="5989"/>
                  <a:pt x="6873" y="5957"/>
                </a:cubicBezTo>
                <a:close/>
                <a:moveTo>
                  <a:pt x="1401" y="5956"/>
                </a:moveTo>
                <a:cubicBezTo>
                  <a:pt x="1407" y="5956"/>
                  <a:pt x="1415" y="5958"/>
                  <a:pt x="1422" y="5958"/>
                </a:cubicBezTo>
                <a:cubicBezTo>
                  <a:pt x="1422" y="5964"/>
                  <a:pt x="1422" y="5964"/>
                  <a:pt x="1429" y="5964"/>
                </a:cubicBezTo>
                <a:cubicBezTo>
                  <a:pt x="1429" y="5977"/>
                  <a:pt x="1415" y="5977"/>
                  <a:pt x="1409" y="5977"/>
                </a:cubicBezTo>
                <a:cubicBezTo>
                  <a:pt x="1409" y="5964"/>
                  <a:pt x="1395" y="5964"/>
                  <a:pt x="1389" y="5964"/>
                </a:cubicBezTo>
                <a:cubicBezTo>
                  <a:pt x="1389" y="5958"/>
                  <a:pt x="1394" y="5956"/>
                  <a:pt x="1401" y="5956"/>
                </a:cubicBezTo>
                <a:close/>
                <a:moveTo>
                  <a:pt x="7652" y="5932"/>
                </a:moveTo>
                <a:cubicBezTo>
                  <a:pt x="7671" y="5931"/>
                  <a:pt x="7650" y="5970"/>
                  <a:pt x="7680" y="5958"/>
                </a:cubicBezTo>
                <a:cubicBezTo>
                  <a:pt x="7674" y="5977"/>
                  <a:pt x="7661" y="5996"/>
                  <a:pt x="7648" y="6015"/>
                </a:cubicBezTo>
                <a:cubicBezTo>
                  <a:pt x="7583" y="6003"/>
                  <a:pt x="7564" y="6073"/>
                  <a:pt x="7519" y="6094"/>
                </a:cubicBezTo>
                <a:cubicBezTo>
                  <a:pt x="7500" y="6101"/>
                  <a:pt x="7500" y="6082"/>
                  <a:pt x="7481" y="6082"/>
                </a:cubicBezTo>
                <a:cubicBezTo>
                  <a:pt x="7435" y="6094"/>
                  <a:pt x="7448" y="6203"/>
                  <a:pt x="7383" y="6177"/>
                </a:cubicBezTo>
                <a:cubicBezTo>
                  <a:pt x="7365" y="6209"/>
                  <a:pt x="7326" y="6229"/>
                  <a:pt x="7300" y="6248"/>
                </a:cubicBezTo>
                <a:cubicBezTo>
                  <a:pt x="7293" y="6240"/>
                  <a:pt x="7286" y="6228"/>
                  <a:pt x="7280" y="6209"/>
                </a:cubicBezTo>
                <a:cubicBezTo>
                  <a:pt x="7228" y="6221"/>
                  <a:pt x="7202" y="6260"/>
                  <a:pt x="7151" y="6266"/>
                </a:cubicBezTo>
                <a:cubicBezTo>
                  <a:pt x="7169" y="6235"/>
                  <a:pt x="7222" y="6235"/>
                  <a:pt x="7196" y="6184"/>
                </a:cubicBezTo>
                <a:cubicBezTo>
                  <a:pt x="7170" y="6177"/>
                  <a:pt x="7170" y="6196"/>
                  <a:pt x="7144" y="6203"/>
                </a:cubicBezTo>
                <a:cubicBezTo>
                  <a:pt x="7157" y="6184"/>
                  <a:pt x="7163" y="6165"/>
                  <a:pt x="7196" y="6171"/>
                </a:cubicBezTo>
                <a:cubicBezTo>
                  <a:pt x="7202" y="6151"/>
                  <a:pt x="7209" y="6132"/>
                  <a:pt x="7222" y="6126"/>
                </a:cubicBezTo>
                <a:cubicBezTo>
                  <a:pt x="7228" y="6126"/>
                  <a:pt x="7241" y="6145"/>
                  <a:pt x="7248" y="6126"/>
                </a:cubicBezTo>
                <a:cubicBezTo>
                  <a:pt x="7274" y="6139"/>
                  <a:pt x="7215" y="6151"/>
                  <a:pt x="7248" y="6151"/>
                </a:cubicBezTo>
                <a:cubicBezTo>
                  <a:pt x="7235" y="6170"/>
                  <a:pt x="7196" y="6190"/>
                  <a:pt x="7215" y="6221"/>
                </a:cubicBezTo>
                <a:cubicBezTo>
                  <a:pt x="7267" y="6202"/>
                  <a:pt x="7312" y="6176"/>
                  <a:pt x="7331" y="6119"/>
                </a:cubicBezTo>
                <a:cubicBezTo>
                  <a:pt x="7383" y="6119"/>
                  <a:pt x="7428" y="6113"/>
                  <a:pt x="7422" y="6061"/>
                </a:cubicBezTo>
                <a:cubicBezTo>
                  <a:pt x="7448" y="6068"/>
                  <a:pt x="7422" y="6086"/>
                  <a:pt x="7455" y="6080"/>
                </a:cubicBezTo>
                <a:cubicBezTo>
                  <a:pt x="7461" y="6067"/>
                  <a:pt x="7468" y="6054"/>
                  <a:pt x="7481" y="6041"/>
                </a:cubicBezTo>
                <a:cubicBezTo>
                  <a:pt x="7487" y="6048"/>
                  <a:pt x="7481" y="6054"/>
                  <a:pt x="7481" y="6060"/>
                </a:cubicBezTo>
                <a:cubicBezTo>
                  <a:pt x="7481" y="6073"/>
                  <a:pt x="7487" y="6054"/>
                  <a:pt x="7493" y="6067"/>
                </a:cubicBezTo>
                <a:cubicBezTo>
                  <a:pt x="7493" y="5978"/>
                  <a:pt x="7603" y="5996"/>
                  <a:pt x="7648" y="5933"/>
                </a:cubicBezTo>
                <a:cubicBezTo>
                  <a:pt x="7650" y="5932"/>
                  <a:pt x="7651" y="5932"/>
                  <a:pt x="7652" y="5932"/>
                </a:cubicBezTo>
                <a:close/>
                <a:moveTo>
                  <a:pt x="1383" y="5926"/>
                </a:moveTo>
                <a:cubicBezTo>
                  <a:pt x="1395" y="5939"/>
                  <a:pt x="1350" y="5951"/>
                  <a:pt x="1338" y="5958"/>
                </a:cubicBezTo>
                <a:cubicBezTo>
                  <a:pt x="1324" y="5945"/>
                  <a:pt x="1370" y="5933"/>
                  <a:pt x="1383" y="5926"/>
                </a:cubicBezTo>
                <a:close/>
                <a:moveTo>
                  <a:pt x="841" y="5922"/>
                </a:moveTo>
                <a:cubicBezTo>
                  <a:pt x="849" y="5922"/>
                  <a:pt x="857" y="5923"/>
                  <a:pt x="866" y="5926"/>
                </a:cubicBezTo>
                <a:cubicBezTo>
                  <a:pt x="866" y="5939"/>
                  <a:pt x="860" y="5951"/>
                  <a:pt x="840" y="5951"/>
                </a:cubicBezTo>
                <a:cubicBezTo>
                  <a:pt x="866" y="5970"/>
                  <a:pt x="834" y="6003"/>
                  <a:pt x="815" y="6002"/>
                </a:cubicBezTo>
                <a:cubicBezTo>
                  <a:pt x="809" y="6002"/>
                  <a:pt x="809" y="5989"/>
                  <a:pt x="809" y="5977"/>
                </a:cubicBezTo>
                <a:cubicBezTo>
                  <a:pt x="770" y="5990"/>
                  <a:pt x="738" y="6003"/>
                  <a:pt x="705" y="6022"/>
                </a:cubicBezTo>
                <a:cubicBezTo>
                  <a:pt x="750" y="5994"/>
                  <a:pt x="785" y="5922"/>
                  <a:pt x="841" y="5922"/>
                </a:cubicBezTo>
                <a:close/>
                <a:moveTo>
                  <a:pt x="1151" y="5906"/>
                </a:moveTo>
                <a:cubicBezTo>
                  <a:pt x="1151" y="5919"/>
                  <a:pt x="1151" y="5933"/>
                  <a:pt x="1125" y="5932"/>
                </a:cubicBezTo>
                <a:cubicBezTo>
                  <a:pt x="1138" y="5919"/>
                  <a:pt x="1131" y="5906"/>
                  <a:pt x="1151" y="5906"/>
                </a:cubicBezTo>
                <a:close/>
                <a:moveTo>
                  <a:pt x="1828" y="5894"/>
                </a:moveTo>
                <a:cubicBezTo>
                  <a:pt x="1828" y="5913"/>
                  <a:pt x="1842" y="5932"/>
                  <a:pt x="1848" y="5913"/>
                </a:cubicBezTo>
                <a:cubicBezTo>
                  <a:pt x="1842" y="5913"/>
                  <a:pt x="1854" y="5906"/>
                  <a:pt x="1854" y="5900"/>
                </a:cubicBezTo>
                <a:cubicBezTo>
                  <a:pt x="1841" y="5900"/>
                  <a:pt x="1841" y="5894"/>
                  <a:pt x="1828" y="5894"/>
                </a:cubicBezTo>
                <a:close/>
                <a:moveTo>
                  <a:pt x="5401" y="5881"/>
                </a:moveTo>
                <a:cubicBezTo>
                  <a:pt x="5401" y="5894"/>
                  <a:pt x="5387" y="5900"/>
                  <a:pt x="5381" y="5906"/>
                </a:cubicBezTo>
                <a:cubicBezTo>
                  <a:pt x="5393" y="5919"/>
                  <a:pt x="5420" y="5906"/>
                  <a:pt x="5420" y="5887"/>
                </a:cubicBezTo>
                <a:cubicBezTo>
                  <a:pt x="5413" y="5887"/>
                  <a:pt x="5407" y="5881"/>
                  <a:pt x="5401" y="5881"/>
                </a:cubicBezTo>
                <a:close/>
                <a:moveTo>
                  <a:pt x="7551" y="5876"/>
                </a:moveTo>
                <a:cubicBezTo>
                  <a:pt x="7571" y="5882"/>
                  <a:pt x="7532" y="5882"/>
                  <a:pt x="7545" y="5895"/>
                </a:cubicBezTo>
                <a:cubicBezTo>
                  <a:pt x="7545" y="5920"/>
                  <a:pt x="7570" y="5914"/>
                  <a:pt x="7596" y="5920"/>
                </a:cubicBezTo>
                <a:cubicBezTo>
                  <a:pt x="7557" y="5958"/>
                  <a:pt x="7506" y="6009"/>
                  <a:pt x="7447" y="6009"/>
                </a:cubicBezTo>
                <a:cubicBezTo>
                  <a:pt x="7428" y="5996"/>
                  <a:pt x="7461" y="5970"/>
                  <a:pt x="7441" y="5951"/>
                </a:cubicBezTo>
                <a:cubicBezTo>
                  <a:pt x="7454" y="5951"/>
                  <a:pt x="7460" y="5970"/>
                  <a:pt x="7480" y="5958"/>
                </a:cubicBezTo>
                <a:cubicBezTo>
                  <a:pt x="7506" y="5933"/>
                  <a:pt x="7506" y="5881"/>
                  <a:pt x="7551" y="5876"/>
                </a:cubicBezTo>
                <a:close/>
                <a:moveTo>
                  <a:pt x="329" y="5868"/>
                </a:moveTo>
                <a:cubicBezTo>
                  <a:pt x="329" y="5900"/>
                  <a:pt x="284" y="5900"/>
                  <a:pt x="278" y="5932"/>
                </a:cubicBezTo>
                <a:cubicBezTo>
                  <a:pt x="265" y="5932"/>
                  <a:pt x="272" y="5913"/>
                  <a:pt x="265" y="5913"/>
                </a:cubicBezTo>
                <a:cubicBezTo>
                  <a:pt x="259" y="5913"/>
                  <a:pt x="259" y="5913"/>
                  <a:pt x="259" y="5913"/>
                </a:cubicBezTo>
                <a:cubicBezTo>
                  <a:pt x="265" y="5900"/>
                  <a:pt x="310" y="5887"/>
                  <a:pt x="329" y="5868"/>
                </a:cubicBezTo>
                <a:close/>
                <a:moveTo>
                  <a:pt x="1485" y="5867"/>
                </a:moveTo>
                <a:cubicBezTo>
                  <a:pt x="1487" y="5867"/>
                  <a:pt x="1489" y="5867"/>
                  <a:pt x="1492" y="5869"/>
                </a:cubicBezTo>
                <a:cubicBezTo>
                  <a:pt x="1492" y="5869"/>
                  <a:pt x="1492" y="5869"/>
                  <a:pt x="1492" y="5881"/>
                </a:cubicBezTo>
                <a:cubicBezTo>
                  <a:pt x="1479" y="5881"/>
                  <a:pt x="1473" y="5875"/>
                  <a:pt x="1466" y="5887"/>
                </a:cubicBezTo>
                <a:cubicBezTo>
                  <a:pt x="1454" y="5887"/>
                  <a:pt x="1466" y="5881"/>
                  <a:pt x="1466" y="5875"/>
                </a:cubicBezTo>
                <a:cubicBezTo>
                  <a:pt x="1477" y="5875"/>
                  <a:pt x="1479" y="5868"/>
                  <a:pt x="1485" y="5867"/>
                </a:cubicBezTo>
                <a:close/>
                <a:moveTo>
                  <a:pt x="6718" y="5857"/>
                </a:moveTo>
                <a:cubicBezTo>
                  <a:pt x="6692" y="5902"/>
                  <a:pt x="6628" y="5934"/>
                  <a:pt x="6640" y="5992"/>
                </a:cubicBezTo>
                <a:cubicBezTo>
                  <a:pt x="6685" y="5985"/>
                  <a:pt x="6724" y="5915"/>
                  <a:pt x="6763" y="5934"/>
                </a:cubicBezTo>
                <a:cubicBezTo>
                  <a:pt x="6763" y="5959"/>
                  <a:pt x="6724" y="5940"/>
                  <a:pt x="6730" y="5959"/>
                </a:cubicBezTo>
                <a:cubicBezTo>
                  <a:pt x="6737" y="5978"/>
                  <a:pt x="6769" y="5966"/>
                  <a:pt x="6763" y="5953"/>
                </a:cubicBezTo>
                <a:cubicBezTo>
                  <a:pt x="6782" y="5953"/>
                  <a:pt x="6769" y="5966"/>
                  <a:pt x="6769" y="5978"/>
                </a:cubicBezTo>
                <a:cubicBezTo>
                  <a:pt x="6744" y="5991"/>
                  <a:pt x="6738" y="5978"/>
                  <a:pt x="6718" y="5985"/>
                </a:cubicBezTo>
                <a:cubicBezTo>
                  <a:pt x="6718" y="5997"/>
                  <a:pt x="6725" y="6004"/>
                  <a:pt x="6738" y="6004"/>
                </a:cubicBezTo>
                <a:cubicBezTo>
                  <a:pt x="6711" y="6048"/>
                  <a:pt x="6640" y="6105"/>
                  <a:pt x="6602" y="6099"/>
                </a:cubicBezTo>
                <a:cubicBezTo>
                  <a:pt x="6595" y="6105"/>
                  <a:pt x="6595" y="6112"/>
                  <a:pt x="6589" y="6118"/>
                </a:cubicBezTo>
                <a:cubicBezTo>
                  <a:pt x="6582" y="6112"/>
                  <a:pt x="6569" y="6112"/>
                  <a:pt x="6569" y="6093"/>
                </a:cubicBezTo>
                <a:cubicBezTo>
                  <a:pt x="6524" y="6099"/>
                  <a:pt x="6492" y="6157"/>
                  <a:pt x="6427" y="6150"/>
                </a:cubicBezTo>
                <a:cubicBezTo>
                  <a:pt x="6421" y="6195"/>
                  <a:pt x="6304" y="6233"/>
                  <a:pt x="6220" y="6240"/>
                </a:cubicBezTo>
                <a:cubicBezTo>
                  <a:pt x="6214" y="6233"/>
                  <a:pt x="6214" y="6227"/>
                  <a:pt x="6220" y="6214"/>
                </a:cubicBezTo>
                <a:cubicBezTo>
                  <a:pt x="6188" y="6221"/>
                  <a:pt x="6162" y="6233"/>
                  <a:pt x="6162" y="6278"/>
                </a:cubicBezTo>
                <a:cubicBezTo>
                  <a:pt x="6162" y="6285"/>
                  <a:pt x="6175" y="6278"/>
                  <a:pt x="6188" y="6285"/>
                </a:cubicBezTo>
                <a:cubicBezTo>
                  <a:pt x="6072" y="6374"/>
                  <a:pt x="5923" y="6425"/>
                  <a:pt x="5794" y="6508"/>
                </a:cubicBezTo>
                <a:cubicBezTo>
                  <a:pt x="5794" y="6521"/>
                  <a:pt x="5814" y="6514"/>
                  <a:pt x="5814" y="6527"/>
                </a:cubicBezTo>
                <a:cubicBezTo>
                  <a:pt x="5871" y="6502"/>
                  <a:pt x="5910" y="6463"/>
                  <a:pt x="5968" y="6444"/>
                </a:cubicBezTo>
                <a:cubicBezTo>
                  <a:pt x="5897" y="6540"/>
                  <a:pt x="5735" y="6547"/>
                  <a:pt x="5652" y="6630"/>
                </a:cubicBezTo>
                <a:cubicBezTo>
                  <a:pt x="5671" y="6649"/>
                  <a:pt x="5697" y="6611"/>
                  <a:pt x="5716" y="6636"/>
                </a:cubicBezTo>
                <a:cubicBezTo>
                  <a:pt x="5736" y="6616"/>
                  <a:pt x="5755" y="6597"/>
                  <a:pt x="5781" y="6591"/>
                </a:cubicBezTo>
                <a:cubicBezTo>
                  <a:pt x="5794" y="6604"/>
                  <a:pt x="5788" y="6611"/>
                  <a:pt x="5781" y="6630"/>
                </a:cubicBezTo>
                <a:cubicBezTo>
                  <a:pt x="5833" y="6617"/>
                  <a:pt x="5840" y="6566"/>
                  <a:pt x="5885" y="6553"/>
                </a:cubicBezTo>
                <a:cubicBezTo>
                  <a:pt x="5885" y="6553"/>
                  <a:pt x="5885" y="6553"/>
                  <a:pt x="5885" y="6578"/>
                </a:cubicBezTo>
                <a:cubicBezTo>
                  <a:pt x="5930" y="6578"/>
                  <a:pt x="5917" y="6527"/>
                  <a:pt x="5956" y="6527"/>
                </a:cubicBezTo>
                <a:cubicBezTo>
                  <a:pt x="5962" y="6533"/>
                  <a:pt x="5936" y="6552"/>
                  <a:pt x="5956" y="6552"/>
                </a:cubicBezTo>
                <a:cubicBezTo>
                  <a:pt x="5924" y="6590"/>
                  <a:pt x="5853" y="6590"/>
                  <a:pt x="5833" y="6635"/>
                </a:cubicBezTo>
                <a:cubicBezTo>
                  <a:pt x="5866" y="6629"/>
                  <a:pt x="5892" y="6610"/>
                  <a:pt x="5924" y="6604"/>
                </a:cubicBezTo>
                <a:cubicBezTo>
                  <a:pt x="5918" y="6617"/>
                  <a:pt x="5912" y="6630"/>
                  <a:pt x="5924" y="6642"/>
                </a:cubicBezTo>
                <a:cubicBezTo>
                  <a:pt x="5866" y="6674"/>
                  <a:pt x="5782" y="6680"/>
                  <a:pt x="5756" y="6738"/>
                </a:cubicBezTo>
                <a:cubicBezTo>
                  <a:pt x="5769" y="6757"/>
                  <a:pt x="5802" y="6738"/>
                  <a:pt x="5814" y="6751"/>
                </a:cubicBezTo>
                <a:cubicBezTo>
                  <a:pt x="5743" y="6808"/>
                  <a:pt x="5621" y="6821"/>
                  <a:pt x="5562" y="6885"/>
                </a:cubicBezTo>
                <a:cubicBezTo>
                  <a:pt x="5569" y="6904"/>
                  <a:pt x="5589" y="6885"/>
                  <a:pt x="5601" y="6885"/>
                </a:cubicBezTo>
                <a:cubicBezTo>
                  <a:pt x="5569" y="6917"/>
                  <a:pt x="5536" y="6949"/>
                  <a:pt x="5543" y="7000"/>
                </a:cubicBezTo>
                <a:cubicBezTo>
                  <a:pt x="5465" y="7025"/>
                  <a:pt x="5394" y="7058"/>
                  <a:pt x="5311" y="7077"/>
                </a:cubicBezTo>
                <a:cubicBezTo>
                  <a:pt x="5337" y="7044"/>
                  <a:pt x="5401" y="6987"/>
                  <a:pt x="5440" y="7013"/>
                </a:cubicBezTo>
                <a:cubicBezTo>
                  <a:pt x="5472" y="6981"/>
                  <a:pt x="5517" y="6961"/>
                  <a:pt x="5550" y="6936"/>
                </a:cubicBezTo>
                <a:cubicBezTo>
                  <a:pt x="5544" y="6923"/>
                  <a:pt x="5531" y="6917"/>
                  <a:pt x="5505" y="6917"/>
                </a:cubicBezTo>
                <a:cubicBezTo>
                  <a:pt x="5505" y="6904"/>
                  <a:pt x="5505" y="6891"/>
                  <a:pt x="5511" y="6878"/>
                </a:cubicBezTo>
                <a:cubicBezTo>
                  <a:pt x="5479" y="6885"/>
                  <a:pt x="5420" y="6898"/>
                  <a:pt x="5382" y="6923"/>
                </a:cubicBezTo>
                <a:cubicBezTo>
                  <a:pt x="5368" y="6949"/>
                  <a:pt x="5394" y="6962"/>
                  <a:pt x="5388" y="6975"/>
                </a:cubicBezTo>
                <a:cubicBezTo>
                  <a:pt x="5369" y="7026"/>
                  <a:pt x="5304" y="7006"/>
                  <a:pt x="5278" y="7045"/>
                </a:cubicBezTo>
                <a:cubicBezTo>
                  <a:pt x="5213" y="7045"/>
                  <a:pt x="5142" y="7084"/>
                  <a:pt x="5078" y="7096"/>
                </a:cubicBezTo>
                <a:cubicBezTo>
                  <a:pt x="5071" y="7096"/>
                  <a:pt x="5084" y="7103"/>
                  <a:pt x="5078" y="7115"/>
                </a:cubicBezTo>
                <a:cubicBezTo>
                  <a:pt x="5005" y="7139"/>
                  <a:pt x="4972" y="7202"/>
                  <a:pt x="4890" y="7218"/>
                </a:cubicBezTo>
                <a:lnTo>
                  <a:pt x="4874" y="7220"/>
                </a:lnTo>
                <a:lnTo>
                  <a:pt x="4876" y="7219"/>
                </a:lnTo>
                <a:cubicBezTo>
                  <a:pt x="4879" y="7217"/>
                  <a:pt x="4879" y="7212"/>
                  <a:pt x="4879" y="7208"/>
                </a:cubicBezTo>
                <a:cubicBezTo>
                  <a:pt x="4859" y="7201"/>
                  <a:pt x="4859" y="7214"/>
                  <a:pt x="4853" y="7208"/>
                </a:cubicBezTo>
                <a:cubicBezTo>
                  <a:pt x="4840" y="7214"/>
                  <a:pt x="4853" y="7214"/>
                  <a:pt x="4840" y="7220"/>
                </a:cubicBezTo>
                <a:cubicBezTo>
                  <a:pt x="4743" y="7220"/>
                  <a:pt x="4724" y="7297"/>
                  <a:pt x="4620" y="7291"/>
                </a:cubicBezTo>
                <a:cubicBezTo>
                  <a:pt x="4620" y="7272"/>
                  <a:pt x="4633" y="7265"/>
                  <a:pt x="4653" y="7265"/>
                </a:cubicBezTo>
                <a:cubicBezTo>
                  <a:pt x="4646" y="7253"/>
                  <a:pt x="4634" y="7253"/>
                  <a:pt x="4646" y="7240"/>
                </a:cubicBezTo>
                <a:cubicBezTo>
                  <a:pt x="4666" y="7234"/>
                  <a:pt x="4685" y="7221"/>
                  <a:pt x="4705" y="7240"/>
                </a:cubicBezTo>
                <a:cubicBezTo>
                  <a:pt x="4736" y="7190"/>
                  <a:pt x="4827" y="7196"/>
                  <a:pt x="4866" y="7151"/>
                </a:cubicBezTo>
                <a:cubicBezTo>
                  <a:pt x="4912" y="7170"/>
                  <a:pt x="4918" y="7118"/>
                  <a:pt x="4963" y="7106"/>
                </a:cubicBezTo>
                <a:cubicBezTo>
                  <a:pt x="5002" y="7093"/>
                  <a:pt x="5009" y="7055"/>
                  <a:pt x="5060" y="7048"/>
                </a:cubicBezTo>
                <a:cubicBezTo>
                  <a:pt x="4958" y="7061"/>
                  <a:pt x="4860" y="7106"/>
                  <a:pt x="4757" y="7131"/>
                </a:cubicBezTo>
                <a:cubicBezTo>
                  <a:pt x="4757" y="7131"/>
                  <a:pt x="4757" y="7131"/>
                  <a:pt x="4757" y="7118"/>
                </a:cubicBezTo>
                <a:cubicBezTo>
                  <a:pt x="4725" y="7112"/>
                  <a:pt x="4699" y="7118"/>
                  <a:pt x="4680" y="7131"/>
                </a:cubicBezTo>
                <a:cubicBezTo>
                  <a:pt x="4680" y="7137"/>
                  <a:pt x="4693" y="7131"/>
                  <a:pt x="4699" y="7131"/>
                </a:cubicBezTo>
                <a:cubicBezTo>
                  <a:pt x="4693" y="7189"/>
                  <a:pt x="4615" y="7182"/>
                  <a:pt x="4564" y="7201"/>
                </a:cubicBezTo>
                <a:cubicBezTo>
                  <a:pt x="4486" y="7221"/>
                  <a:pt x="4415" y="7246"/>
                  <a:pt x="4312" y="7246"/>
                </a:cubicBezTo>
                <a:cubicBezTo>
                  <a:pt x="4298" y="7253"/>
                  <a:pt x="4312" y="7278"/>
                  <a:pt x="4292" y="7272"/>
                </a:cubicBezTo>
                <a:cubicBezTo>
                  <a:pt x="4285" y="7246"/>
                  <a:pt x="4305" y="7252"/>
                  <a:pt x="4305" y="7233"/>
                </a:cubicBezTo>
                <a:cubicBezTo>
                  <a:pt x="4291" y="7227"/>
                  <a:pt x="4266" y="7233"/>
                  <a:pt x="4246" y="7220"/>
                </a:cubicBezTo>
                <a:cubicBezTo>
                  <a:pt x="4278" y="7163"/>
                  <a:pt x="4401" y="7201"/>
                  <a:pt x="4421" y="7131"/>
                </a:cubicBezTo>
                <a:cubicBezTo>
                  <a:pt x="4524" y="7163"/>
                  <a:pt x="4595" y="7073"/>
                  <a:pt x="4718" y="7067"/>
                </a:cubicBezTo>
                <a:cubicBezTo>
                  <a:pt x="4718" y="7080"/>
                  <a:pt x="4705" y="7080"/>
                  <a:pt x="4705" y="7086"/>
                </a:cubicBezTo>
                <a:cubicBezTo>
                  <a:pt x="4731" y="7099"/>
                  <a:pt x="4763" y="7073"/>
                  <a:pt x="4770" y="7047"/>
                </a:cubicBezTo>
                <a:cubicBezTo>
                  <a:pt x="4802" y="7047"/>
                  <a:pt x="4815" y="7085"/>
                  <a:pt x="4847" y="7066"/>
                </a:cubicBezTo>
                <a:cubicBezTo>
                  <a:pt x="4860" y="7066"/>
                  <a:pt x="4847" y="7028"/>
                  <a:pt x="4873" y="7041"/>
                </a:cubicBezTo>
                <a:cubicBezTo>
                  <a:pt x="4880" y="7015"/>
                  <a:pt x="4854" y="7021"/>
                  <a:pt x="4860" y="7002"/>
                </a:cubicBezTo>
                <a:cubicBezTo>
                  <a:pt x="4853" y="7009"/>
                  <a:pt x="4841" y="7009"/>
                  <a:pt x="4841" y="7015"/>
                </a:cubicBezTo>
                <a:cubicBezTo>
                  <a:pt x="4827" y="7015"/>
                  <a:pt x="4841" y="6990"/>
                  <a:pt x="4821" y="6996"/>
                </a:cubicBezTo>
                <a:cubicBezTo>
                  <a:pt x="4827" y="6976"/>
                  <a:pt x="4853" y="6976"/>
                  <a:pt x="4866" y="6957"/>
                </a:cubicBezTo>
                <a:cubicBezTo>
                  <a:pt x="4879" y="6951"/>
                  <a:pt x="4892" y="6957"/>
                  <a:pt x="4898" y="6964"/>
                </a:cubicBezTo>
                <a:cubicBezTo>
                  <a:pt x="4918" y="6938"/>
                  <a:pt x="4957" y="6931"/>
                  <a:pt x="5002" y="6925"/>
                </a:cubicBezTo>
                <a:cubicBezTo>
                  <a:pt x="4995" y="6912"/>
                  <a:pt x="4983" y="6912"/>
                  <a:pt x="4963" y="6912"/>
                </a:cubicBezTo>
                <a:cubicBezTo>
                  <a:pt x="4989" y="6893"/>
                  <a:pt x="5022" y="6880"/>
                  <a:pt x="5054" y="6874"/>
                </a:cubicBezTo>
                <a:cubicBezTo>
                  <a:pt x="5086" y="6912"/>
                  <a:pt x="5157" y="6855"/>
                  <a:pt x="5196" y="6842"/>
                </a:cubicBezTo>
                <a:cubicBezTo>
                  <a:pt x="5183" y="6823"/>
                  <a:pt x="5171" y="6848"/>
                  <a:pt x="5151" y="6842"/>
                </a:cubicBezTo>
                <a:cubicBezTo>
                  <a:pt x="5164" y="6823"/>
                  <a:pt x="5190" y="6817"/>
                  <a:pt x="5216" y="6817"/>
                </a:cubicBezTo>
                <a:cubicBezTo>
                  <a:pt x="5210" y="6823"/>
                  <a:pt x="5203" y="6829"/>
                  <a:pt x="5203" y="6836"/>
                </a:cubicBezTo>
                <a:cubicBezTo>
                  <a:pt x="5222" y="6836"/>
                  <a:pt x="5236" y="6823"/>
                  <a:pt x="5248" y="6817"/>
                </a:cubicBezTo>
                <a:cubicBezTo>
                  <a:pt x="5248" y="6811"/>
                  <a:pt x="5242" y="6804"/>
                  <a:pt x="5242" y="6798"/>
                </a:cubicBezTo>
                <a:cubicBezTo>
                  <a:pt x="5319" y="6792"/>
                  <a:pt x="5364" y="6740"/>
                  <a:pt x="5429" y="6709"/>
                </a:cubicBezTo>
                <a:cubicBezTo>
                  <a:pt x="5442" y="6709"/>
                  <a:pt x="5442" y="6721"/>
                  <a:pt x="5435" y="6734"/>
                </a:cubicBezTo>
                <a:cubicBezTo>
                  <a:pt x="5461" y="6740"/>
                  <a:pt x="5467" y="6709"/>
                  <a:pt x="5487" y="6728"/>
                </a:cubicBezTo>
                <a:cubicBezTo>
                  <a:pt x="5487" y="6753"/>
                  <a:pt x="5448" y="6728"/>
                  <a:pt x="5454" y="6753"/>
                </a:cubicBezTo>
                <a:cubicBezTo>
                  <a:pt x="5474" y="6759"/>
                  <a:pt x="5519" y="6721"/>
                  <a:pt x="5545" y="6753"/>
                </a:cubicBezTo>
                <a:cubicBezTo>
                  <a:pt x="5552" y="6753"/>
                  <a:pt x="5552" y="6740"/>
                  <a:pt x="5565" y="6740"/>
                </a:cubicBezTo>
                <a:cubicBezTo>
                  <a:pt x="5559" y="6721"/>
                  <a:pt x="5540" y="6715"/>
                  <a:pt x="5514" y="6721"/>
                </a:cubicBezTo>
                <a:cubicBezTo>
                  <a:pt x="5546" y="6683"/>
                  <a:pt x="5604" y="6657"/>
                  <a:pt x="5649" y="6651"/>
                </a:cubicBezTo>
                <a:cubicBezTo>
                  <a:pt x="5624" y="6606"/>
                  <a:pt x="5578" y="6683"/>
                  <a:pt x="5533" y="6676"/>
                </a:cubicBezTo>
                <a:cubicBezTo>
                  <a:pt x="5546" y="6664"/>
                  <a:pt x="5533" y="6651"/>
                  <a:pt x="5514" y="6651"/>
                </a:cubicBezTo>
                <a:cubicBezTo>
                  <a:pt x="5514" y="6632"/>
                  <a:pt x="5532" y="6638"/>
                  <a:pt x="5526" y="6626"/>
                </a:cubicBezTo>
                <a:cubicBezTo>
                  <a:pt x="5487" y="6645"/>
                  <a:pt x="5416" y="6632"/>
                  <a:pt x="5404" y="6690"/>
                </a:cubicBezTo>
                <a:cubicBezTo>
                  <a:pt x="5300" y="6741"/>
                  <a:pt x="5191" y="6773"/>
                  <a:pt x="5113" y="6799"/>
                </a:cubicBezTo>
                <a:cubicBezTo>
                  <a:pt x="5107" y="6792"/>
                  <a:pt x="5119" y="6773"/>
                  <a:pt x="5139" y="6773"/>
                </a:cubicBezTo>
                <a:cubicBezTo>
                  <a:pt x="5132" y="6761"/>
                  <a:pt x="5119" y="6761"/>
                  <a:pt x="5119" y="6742"/>
                </a:cubicBezTo>
                <a:cubicBezTo>
                  <a:pt x="5172" y="6729"/>
                  <a:pt x="5198" y="6698"/>
                  <a:pt x="5249" y="6710"/>
                </a:cubicBezTo>
                <a:cubicBezTo>
                  <a:pt x="5255" y="6704"/>
                  <a:pt x="5255" y="6691"/>
                  <a:pt x="5255" y="6685"/>
                </a:cubicBezTo>
                <a:cubicBezTo>
                  <a:pt x="5313" y="6691"/>
                  <a:pt x="5416" y="6634"/>
                  <a:pt x="5487" y="6602"/>
                </a:cubicBezTo>
                <a:cubicBezTo>
                  <a:pt x="5559" y="6563"/>
                  <a:pt x="5636" y="6538"/>
                  <a:pt x="5675" y="6480"/>
                </a:cubicBezTo>
                <a:cubicBezTo>
                  <a:pt x="5687" y="6480"/>
                  <a:pt x="5681" y="6499"/>
                  <a:pt x="5687" y="6506"/>
                </a:cubicBezTo>
                <a:cubicBezTo>
                  <a:pt x="5726" y="6480"/>
                  <a:pt x="5765" y="6462"/>
                  <a:pt x="5784" y="6423"/>
                </a:cubicBezTo>
                <a:cubicBezTo>
                  <a:pt x="5739" y="6442"/>
                  <a:pt x="5642" y="6467"/>
                  <a:pt x="5584" y="6506"/>
                </a:cubicBezTo>
                <a:cubicBezTo>
                  <a:pt x="5551" y="6532"/>
                  <a:pt x="5544" y="6557"/>
                  <a:pt x="5493" y="6544"/>
                </a:cubicBezTo>
                <a:cubicBezTo>
                  <a:pt x="5525" y="6493"/>
                  <a:pt x="5590" y="6500"/>
                  <a:pt x="5641" y="6462"/>
                </a:cubicBezTo>
                <a:cubicBezTo>
                  <a:pt x="5668" y="6449"/>
                  <a:pt x="5680" y="6423"/>
                  <a:pt x="5719" y="6404"/>
                </a:cubicBezTo>
                <a:cubicBezTo>
                  <a:pt x="5731" y="6404"/>
                  <a:pt x="5731" y="6417"/>
                  <a:pt x="5751" y="6410"/>
                </a:cubicBezTo>
                <a:cubicBezTo>
                  <a:pt x="5777" y="6385"/>
                  <a:pt x="5784" y="6340"/>
                  <a:pt x="5822" y="6327"/>
                </a:cubicBezTo>
                <a:cubicBezTo>
                  <a:pt x="5816" y="6308"/>
                  <a:pt x="5809" y="6308"/>
                  <a:pt x="5829" y="6296"/>
                </a:cubicBezTo>
                <a:cubicBezTo>
                  <a:pt x="5829" y="6283"/>
                  <a:pt x="5816" y="6283"/>
                  <a:pt x="5816" y="6277"/>
                </a:cubicBezTo>
                <a:cubicBezTo>
                  <a:pt x="5810" y="6296"/>
                  <a:pt x="5784" y="6270"/>
                  <a:pt x="5777" y="6296"/>
                </a:cubicBezTo>
                <a:cubicBezTo>
                  <a:pt x="5764" y="6276"/>
                  <a:pt x="5796" y="6251"/>
                  <a:pt x="5822" y="6244"/>
                </a:cubicBezTo>
                <a:cubicBezTo>
                  <a:pt x="5816" y="6219"/>
                  <a:pt x="5776" y="6244"/>
                  <a:pt x="5796" y="6213"/>
                </a:cubicBezTo>
                <a:cubicBezTo>
                  <a:pt x="5777" y="6213"/>
                  <a:pt x="5771" y="6219"/>
                  <a:pt x="5745" y="6213"/>
                </a:cubicBezTo>
                <a:cubicBezTo>
                  <a:pt x="5758" y="6199"/>
                  <a:pt x="5790" y="6193"/>
                  <a:pt x="5796" y="6174"/>
                </a:cubicBezTo>
                <a:cubicBezTo>
                  <a:pt x="5887" y="6218"/>
                  <a:pt x="5952" y="6174"/>
                  <a:pt x="5997" y="6123"/>
                </a:cubicBezTo>
                <a:cubicBezTo>
                  <a:pt x="5997" y="6110"/>
                  <a:pt x="5983" y="6110"/>
                  <a:pt x="5971" y="6110"/>
                </a:cubicBezTo>
                <a:cubicBezTo>
                  <a:pt x="5971" y="6084"/>
                  <a:pt x="5984" y="6078"/>
                  <a:pt x="5997" y="6065"/>
                </a:cubicBezTo>
                <a:cubicBezTo>
                  <a:pt x="6016" y="6065"/>
                  <a:pt x="6029" y="6071"/>
                  <a:pt x="6042" y="6071"/>
                </a:cubicBezTo>
                <a:cubicBezTo>
                  <a:pt x="6119" y="6020"/>
                  <a:pt x="6216" y="5981"/>
                  <a:pt x="6274" y="5905"/>
                </a:cubicBezTo>
                <a:cubicBezTo>
                  <a:pt x="6287" y="5924"/>
                  <a:pt x="6299" y="5911"/>
                  <a:pt x="6325" y="5905"/>
                </a:cubicBezTo>
                <a:cubicBezTo>
                  <a:pt x="6319" y="5931"/>
                  <a:pt x="6325" y="5937"/>
                  <a:pt x="6332" y="5963"/>
                </a:cubicBezTo>
                <a:cubicBezTo>
                  <a:pt x="6312" y="5956"/>
                  <a:pt x="6306" y="5963"/>
                  <a:pt x="6299" y="5969"/>
                </a:cubicBezTo>
                <a:cubicBezTo>
                  <a:pt x="6299" y="5981"/>
                  <a:pt x="6319" y="5975"/>
                  <a:pt x="6332" y="5975"/>
                </a:cubicBezTo>
                <a:cubicBezTo>
                  <a:pt x="6332" y="5988"/>
                  <a:pt x="6312" y="5981"/>
                  <a:pt x="6312" y="5994"/>
                </a:cubicBezTo>
                <a:cubicBezTo>
                  <a:pt x="6331" y="6007"/>
                  <a:pt x="6396" y="5974"/>
                  <a:pt x="6363" y="5955"/>
                </a:cubicBezTo>
                <a:cubicBezTo>
                  <a:pt x="6363" y="5929"/>
                  <a:pt x="6370" y="5917"/>
                  <a:pt x="6389" y="5910"/>
                </a:cubicBezTo>
                <a:cubicBezTo>
                  <a:pt x="6382" y="5943"/>
                  <a:pt x="6402" y="5949"/>
                  <a:pt x="6402" y="5968"/>
                </a:cubicBezTo>
                <a:cubicBezTo>
                  <a:pt x="6324" y="5993"/>
                  <a:pt x="6311" y="6095"/>
                  <a:pt x="6201" y="6064"/>
                </a:cubicBezTo>
                <a:cubicBezTo>
                  <a:pt x="6195" y="6051"/>
                  <a:pt x="6201" y="6051"/>
                  <a:pt x="6208" y="6045"/>
                </a:cubicBezTo>
                <a:cubicBezTo>
                  <a:pt x="6188" y="6038"/>
                  <a:pt x="6195" y="6057"/>
                  <a:pt x="6175" y="6051"/>
                </a:cubicBezTo>
                <a:cubicBezTo>
                  <a:pt x="6188" y="6064"/>
                  <a:pt x="6195" y="6077"/>
                  <a:pt x="6208" y="6096"/>
                </a:cubicBezTo>
                <a:cubicBezTo>
                  <a:pt x="6175" y="6115"/>
                  <a:pt x="6150" y="6141"/>
                  <a:pt x="6130" y="6166"/>
                </a:cubicBezTo>
                <a:cubicBezTo>
                  <a:pt x="6169" y="6179"/>
                  <a:pt x="6214" y="6140"/>
                  <a:pt x="6246" y="6128"/>
                </a:cubicBezTo>
                <a:cubicBezTo>
                  <a:pt x="6246" y="6140"/>
                  <a:pt x="6246" y="6146"/>
                  <a:pt x="6253" y="6153"/>
                </a:cubicBezTo>
                <a:cubicBezTo>
                  <a:pt x="6291" y="6128"/>
                  <a:pt x="6324" y="6089"/>
                  <a:pt x="6362" y="6057"/>
                </a:cubicBezTo>
                <a:cubicBezTo>
                  <a:pt x="6421" y="6070"/>
                  <a:pt x="6415" y="6025"/>
                  <a:pt x="6466" y="6012"/>
                </a:cubicBezTo>
                <a:cubicBezTo>
                  <a:pt x="6460" y="6025"/>
                  <a:pt x="6447" y="6025"/>
                  <a:pt x="6453" y="6044"/>
                </a:cubicBezTo>
                <a:cubicBezTo>
                  <a:pt x="6479" y="6038"/>
                  <a:pt x="6498" y="6031"/>
                  <a:pt x="6492" y="5986"/>
                </a:cubicBezTo>
                <a:cubicBezTo>
                  <a:pt x="6524" y="5986"/>
                  <a:pt x="6505" y="6005"/>
                  <a:pt x="6512" y="6018"/>
                </a:cubicBezTo>
                <a:cubicBezTo>
                  <a:pt x="6544" y="6005"/>
                  <a:pt x="6557" y="5973"/>
                  <a:pt x="6595" y="5966"/>
                </a:cubicBezTo>
                <a:cubicBezTo>
                  <a:pt x="6563" y="5902"/>
                  <a:pt x="6659" y="5870"/>
                  <a:pt x="6718" y="5857"/>
                </a:cubicBezTo>
                <a:close/>
                <a:moveTo>
                  <a:pt x="5446" y="5856"/>
                </a:moveTo>
                <a:cubicBezTo>
                  <a:pt x="5446" y="5862"/>
                  <a:pt x="5439" y="5869"/>
                  <a:pt x="5439" y="5881"/>
                </a:cubicBezTo>
                <a:cubicBezTo>
                  <a:pt x="5465" y="5887"/>
                  <a:pt x="5472" y="5856"/>
                  <a:pt x="5446" y="5856"/>
                </a:cubicBezTo>
                <a:close/>
                <a:moveTo>
                  <a:pt x="6526" y="5848"/>
                </a:moveTo>
                <a:cubicBezTo>
                  <a:pt x="6529" y="5848"/>
                  <a:pt x="6533" y="5848"/>
                  <a:pt x="6537" y="5849"/>
                </a:cubicBezTo>
                <a:cubicBezTo>
                  <a:pt x="6537" y="5881"/>
                  <a:pt x="6543" y="5881"/>
                  <a:pt x="6537" y="5906"/>
                </a:cubicBezTo>
                <a:cubicBezTo>
                  <a:pt x="6498" y="5900"/>
                  <a:pt x="6466" y="5945"/>
                  <a:pt x="6421" y="5945"/>
                </a:cubicBezTo>
                <a:cubicBezTo>
                  <a:pt x="6415" y="5906"/>
                  <a:pt x="6441" y="5900"/>
                  <a:pt x="6421" y="5868"/>
                </a:cubicBezTo>
                <a:cubicBezTo>
                  <a:pt x="6441" y="5849"/>
                  <a:pt x="6466" y="5855"/>
                  <a:pt x="6492" y="5861"/>
                </a:cubicBezTo>
                <a:cubicBezTo>
                  <a:pt x="6466" y="5875"/>
                  <a:pt x="6446" y="5881"/>
                  <a:pt x="6434" y="5906"/>
                </a:cubicBezTo>
                <a:cubicBezTo>
                  <a:pt x="6482" y="5918"/>
                  <a:pt x="6474" y="5846"/>
                  <a:pt x="6526" y="5848"/>
                </a:cubicBezTo>
                <a:close/>
                <a:moveTo>
                  <a:pt x="1899" y="5846"/>
                </a:moveTo>
                <a:cubicBezTo>
                  <a:pt x="1883" y="5846"/>
                  <a:pt x="1868" y="5857"/>
                  <a:pt x="1868" y="5875"/>
                </a:cubicBezTo>
                <a:cubicBezTo>
                  <a:pt x="1880" y="5881"/>
                  <a:pt x="1880" y="5881"/>
                  <a:pt x="1900" y="5881"/>
                </a:cubicBezTo>
                <a:cubicBezTo>
                  <a:pt x="1913" y="5869"/>
                  <a:pt x="1893" y="5856"/>
                  <a:pt x="1913" y="5856"/>
                </a:cubicBezTo>
                <a:cubicBezTo>
                  <a:pt x="1913" y="5856"/>
                  <a:pt x="1919" y="5862"/>
                  <a:pt x="1919" y="5856"/>
                </a:cubicBezTo>
                <a:cubicBezTo>
                  <a:pt x="1913" y="5850"/>
                  <a:pt x="1906" y="5847"/>
                  <a:pt x="1899" y="5846"/>
                </a:cubicBezTo>
                <a:close/>
                <a:moveTo>
                  <a:pt x="6370" y="5842"/>
                </a:moveTo>
                <a:cubicBezTo>
                  <a:pt x="6382" y="5842"/>
                  <a:pt x="6370" y="5849"/>
                  <a:pt x="6370" y="5861"/>
                </a:cubicBezTo>
                <a:cubicBezTo>
                  <a:pt x="6356" y="5861"/>
                  <a:pt x="6356" y="5849"/>
                  <a:pt x="6343" y="5855"/>
                </a:cubicBezTo>
                <a:cubicBezTo>
                  <a:pt x="6343" y="5830"/>
                  <a:pt x="6363" y="5855"/>
                  <a:pt x="6370" y="5842"/>
                </a:cubicBezTo>
                <a:close/>
                <a:moveTo>
                  <a:pt x="7072" y="5836"/>
                </a:moveTo>
                <a:cubicBezTo>
                  <a:pt x="7079" y="5842"/>
                  <a:pt x="7086" y="5849"/>
                  <a:pt x="7098" y="5855"/>
                </a:cubicBezTo>
                <a:cubicBezTo>
                  <a:pt x="7079" y="5868"/>
                  <a:pt x="7092" y="5894"/>
                  <a:pt x="7086" y="5906"/>
                </a:cubicBezTo>
                <a:cubicBezTo>
                  <a:pt x="7047" y="5887"/>
                  <a:pt x="7022" y="5906"/>
                  <a:pt x="7008" y="5939"/>
                </a:cubicBezTo>
                <a:cubicBezTo>
                  <a:pt x="6989" y="5887"/>
                  <a:pt x="7060" y="5875"/>
                  <a:pt x="7072" y="5836"/>
                </a:cubicBezTo>
                <a:close/>
                <a:moveTo>
                  <a:pt x="1006" y="5829"/>
                </a:moveTo>
                <a:cubicBezTo>
                  <a:pt x="1008" y="5829"/>
                  <a:pt x="1012" y="5829"/>
                  <a:pt x="1015" y="5830"/>
                </a:cubicBezTo>
                <a:cubicBezTo>
                  <a:pt x="995" y="5862"/>
                  <a:pt x="963" y="5875"/>
                  <a:pt x="924" y="5887"/>
                </a:cubicBezTo>
                <a:cubicBezTo>
                  <a:pt x="948" y="5870"/>
                  <a:pt x="962" y="5829"/>
                  <a:pt x="1006" y="5829"/>
                </a:cubicBezTo>
                <a:close/>
                <a:moveTo>
                  <a:pt x="7415" y="5817"/>
                </a:moveTo>
                <a:cubicBezTo>
                  <a:pt x="7421" y="5843"/>
                  <a:pt x="7402" y="5837"/>
                  <a:pt x="7409" y="5856"/>
                </a:cubicBezTo>
                <a:cubicBezTo>
                  <a:pt x="7428" y="5856"/>
                  <a:pt x="7435" y="5842"/>
                  <a:pt x="7435" y="5824"/>
                </a:cubicBezTo>
                <a:cubicBezTo>
                  <a:pt x="7428" y="5824"/>
                  <a:pt x="7421" y="5824"/>
                  <a:pt x="7415" y="5817"/>
                </a:cubicBezTo>
                <a:close/>
                <a:moveTo>
                  <a:pt x="6647" y="5811"/>
                </a:moveTo>
                <a:cubicBezTo>
                  <a:pt x="6647" y="5830"/>
                  <a:pt x="6666" y="5817"/>
                  <a:pt x="6659" y="5842"/>
                </a:cubicBezTo>
                <a:cubicBezTo>
                  <a:pt x="6621" y="5842"/>
                  <a:pt x="6602" y="5862"/>
                  <a:pt x="6582" y="5881"/>
                </a:cubicBezTo>
                <a:cubicBezTo>
                  <a:pt x="6582" y="5862"/>
                  <a:pt x="6621" y="5824"/>
                  <a:pt x="6647" y="5811"/>
                </a:cubicBezTo>
                <a:close/>
                <a:moveTo>
                  <a:pt x="629" y="5802"/>
                </a:moveTo>
                <a:cubicBezTo>
                  <a:pt x="636" y="5801"/>
                  <a:pt x="644" y="5804"/>
                  <a:pt x="652" y="5811"/>
                </a:cubicBezTo>
                <a:cubicBezTo>
                  <a:pt x="627" y="5836"/>
                  <a:pt x="595" y="5850"/>
                  <a:pt x="569" y="5875"/>
                </a:cubicBezTo>
                <a:cubicBezTo>
                  <a:pt x="562" y="5869"/>
                  <a:pt x="569" y="5856"/>
                  <a:pt x="561" y="5856"/>
                </a:cubicBezTo>
                <a:cubicBezTo>
                  <a:pt x="582" y="5840"/>
                  <a:pt x="602" y="5802"/>
                  <a:pt x="629" y="5802"/>
                </a:cubicBezTo>
                <a:close/>
                <a:moveTo>
                  <a:pt x="7196" y="5792"/>
                </a:moveTo>
                <a:cubicBezTo>
                  <a:pt x="7190" y="5811"/>
                  <a:pt x="7170" y="5830"/>
                  <a:pt x="7158" y="5811"/>
                </a:cubicBezTo>
                <a:cubicBezTo>
                  <a:pt x="7151" y="5843"/>
                  <a:pt x="7197" y="5831"/>
                  <a:pt x="7177" y="5862"/>
                </a:cubicBezTo>
                <a:cubicBezTo>
                  <a:pt x="7177" y="5875"/>
                  <a:pt x="7197" y="5862"/>
                  <a:pt x="7203" y="5869"/>
                </a:cubicBezTo>
                <a:cubicBezTo>
                  <a:pt x="7210" y="5894"/>
                  <a:pt x="7217" y="5920"/>
                  <a:pt x="7197" y="5939"/>
                </a:cubicBezTo>
                <a:cubicBezTo>
                  <a:pt x="7203" y="5945"/>
                  <a:pt x="7203" y="5945"/>
                  <a:pt x="7203" y="5951"/>
                </a:cubicBezTo>
                <a:cubicBezTo>
                  <a:pt x="7243" y="5933"/>
                  <a:pt x="7282" y="5920"/>
                  <a:pt x="7294" y="5875"/>
                </a:cubicBezTo>
                <a:cubicBezTo>
                  <a:pt x="7327" y="5888"/>
                  <a:pt x="7339" y="5856"/>
                  <a:pt x="7378" y="5843"/>
                </a:cubicBezTo>
                <a:cubicBezTo>
                  <a:pt x="7403" y="5887"/>
                  <a:pt x="7300" y="5887"/>
                  <a:pt x="7320" y="5926"/>
                </a:cubicBezTo>
                <a:cubicBezTo>
                  <a:pt x="7293" y="5939"/>
                  <a:pt x="7281" y="5977"/>
                  <a:pt x="7248" y="5958"/>
                </a:cubicBezTo>
                <a:cubicBezTo>
                  <a:pt x="7235" y="5964"/>
                  <a:pt x="7242" y="5977"/>
                  <a:pt x="7222" y="5970"/>
                </a:cubicBezTo>
                <a:cubicBezTo>
                  <a:pt x="7229" y="6009"/>
                  <a:pt x="7203" y="6015"/>
                  <a:pt x="7196" y="6041"/>
                </a:cubicBezTo>
                <a:cubicBezTo>
                  <a:pt x="7177" y="6041"/>
                  <a:pt x="7144" y="6047"/>
                  <a:pt x="7146" y="6079"/>
                </a:cubicBezTo>
                <a:cubicBezTo>
                  <a:pt x="7126" y="6079"/>
                  <a:pt x="7126" y="6092"/>
                  <a:pt x="7120" y="6079"/>
                </a:cubicBezTo>
                <a:cubicBezTo>
                  <a:pt x="7113" y="6067"/>
                  <a:pt x="7126" y="6067"/>
                  <a:pt x="7126" y="6048"/>
                </a:cubicBezTo>
                <a:cubicBezTo>
                  <a:pt x="7101" y="6048"/>
                  <a:pt x="7101" y="6067"/>
                  <a:pt x="7075" y="6067"/>
                </a:cubicBezTo>
                <a:cubicBezTo>
                  <a:pt x="7081" y="6041"/>
                  <a:pt x="7107" y="6041"/>
                  <a:pt x="7120" y="6028"/>
                </a:cubicBezTo>
                <a:cubicBezTo>
                  <a:pt x="7132" y="6028"/>
                  <a:pt x="7126" y="6047"/>
                  <a:pt x="7126" y="6060"/>
                </a:cubicBezTo>
                <a:cubicBezTo>
                  <a:pt x="7151" y="6053"/>
                  <a:pt x="7139" y="6022"/>
                  <a:pt x="7177" y="6041"/>
                </a:cubicBezTo>
                <a:cubicBezTo>
                  <a:pt x="7177" y="6041"/>
                  <a:pt x="7177" y="6041"/>
                  <a:pt x="7177" y="6028"/>
                </a:cubicBezTo>
                <a:cubicBezTo>
                  <a:pt x="7164" y="6028"/>
                  <a:pt x="7138" y="5977"/>
                  <a:pt x="7158" y="5958"/>
                </a:cubicBezTo>
                <a:cubicBezTo>
                  <a:pt x="7158" y="5951"/>
                  <a:pt x="7151" y="5964"/>
                  <a:pt x="7138" y="5958"/>
                </a:cubicBezTo>
                <a:cubicBezTo>
                  <a:pt x="7151" y="5920"/>
                  <a:pt x="7151" y="5900"/>
                  <a:pt x="7170" y="5875"/>
                </a:cubicBezTo>
                <a:cubicBezTo>
                  <a:pt x="7144" y="5881"/>
                  <a:pt x="7170" y="5831"/>
                  <a:pt x="7132" y="5850"/>
                </a:cubicBezTo>
                <a:cubicBezTo>
                  <a:pt x="7132" y="5817"/>
                  <a:pt x="7164" y="5798"/>
                  <a:pt x="7196" y="5792"/>
                </a:cubicBezTo>
                <a:close/>
                <a:moveTo>
                  <a:pt x="5394" y="5784"/>
                </a:moveTo>
                <a:cubicBezTo>
                  <a:pt x="5359" y="5784"/>
                  <a:pt x="5340" y="5797"/>
                  <a:pt x="5330" y="5817"/>
                </a:cubicBezTo>
                <a:cubicBezTo>
                  <a:pt x="5362" y="5824"/>
                  <a:pt x="5407" y="5824"/>
                  <a:pt x="5420" y="5786"/>
                </a:cubicBezTo>
                <a:cubicBezTo>
                  <a:pt x="5411" y="5784"/>
                  <a:pt x="5402" y="5784"/>
                  <a:pt x="5394" y="5784"/>
                </a:cubicBezTo>
                <a:close/>
                <a:moveTo>
                  <a:pt x="1948" y="5782"/>
                </a:moveTo>
                <a:cubicBezTo>
                  <a:pt x="1947" y="5782"/>
                  <a:pt x="1946" y="5783"/>
                  <a:pt x="1944" y="5785"/>
                </a:cubicBezTo>
                <a:cubicBezTo>
                  <a:pt x="1944" y="5804"/>
                  <a:pt x="1924" y="5797"/>
                  <a:pt x="1912" y="5791"/>
                </a:cubicBezTo>
                <a:cubicBezTo>
                  <a:pt x="1918" y="5817"/>
                  <a:pt x="1951" y="5804"/>
                  <a:pt x="1944" y="5842"/>
                </a:cubicBezTo>
                <a:cubicBezTo>
                  <a:pt x="1944" y="5842"/>
                  <a:pt x="1944" y="5842"/>
                  <a:pt x="1970" y="5842"/>
                </a:cubicBezTo>
                <a:cubicBezTo>
                  <a:pt x="1977" y="5824"/>
                  <a:pt x="1990" y="5824"/>
                  <a:pt x="1989" y="5797"/>
                </a:cubicBezTo>
                <a:cubicBezTo>
                  <a:pt x="1983" y="5785"/>
                  <a:pt x="1951" y="5804"/>
                  <a:pt x="1951" y="5791"/>
                </a:cubicBezTo>
                <a:cubicBezTo>
                  <a:pt x="1951" y="5786"/>
                  <a:pt x="1951" y="5782"/>
                  <a:pt x="1948" y="5782"/>
                </a:cubicBezTo>
                <a:close/>
                <a:moveTo>
                  <a:pt x="7480" y="5779"/>
                </a:moveTo>
                <a:cubicBezTo>
                  <a:pt x="7493" y="5779"/>
                  <a:pt x="7487" y="5811"/>
                  <a:pt x="7526" y="5797"/>
                </a:cubicBezTo>
                <a:cubicBezTo>
                  <a:pt x="7533" y="5828"/>
                  <a:pt x="7513" y="5842"/>
                  <a:pt x="7507" y="5873"/>
                </a:cubicBezTo>
                <a:cubicBezTo>
                  <a:pt x="7494" y="5861"/>
                  <a:pt x="7500" y="5854"/>
                  <a:pt x="7500" y="5842"/>
                </a:cubicBezTo>
                <a:cubicBezTo>
                  <a:pt x="7500" y="5842"/>
                  <a:pt x="7500" y="5842"/>
                  <a:pt x="7481" y="5842"/>
                </a:cubicBezTo>
                <a:cubicBezTo>
                  <a:pt x="7500" y="5868"/>
                  <a:pt x="7474" y="5874"/>
                  <a:pt x="7448" y="5887"/>
                </a:cubicBezTo>
                <a:cubicBezTo>
                  <a:pt x="7448" y="5880"/>
                  <a:pt x="7455" y="5874"/>
                  <a:pt x="7461" y="5868"/>
                </a:cubicBezTo>
                <a:cubicBezTo>
                  <a:pt x="7441" y="5855"/>
                  <a:pt x="7422" y="5874"/>
                  <a:pt x="7402" y="5874"/>
                </a:cubicBezTo>
                <a:cubicBezTo>
                  <a:pt x="7396" y="5848"/>
                  <a:pt x="7396" y="5848"/>
                  <a:pt x="7402" y="5816"/>
                </a:cubicBezTo>
                <a:cubicBezTo>
                  <a:pt x="7415" y="5810"/>
                  <a:pt x="7435" y="5804"/>
                  <a:pt x="7435" y="5791"/>
                </a:cubicBezTo>
                <a:cubicBezTo>
                  <a:pt x="7447" y="5791"/>
                  <a:pt x="7474" y="5797"/>
                  <a:pt x="7480" y="5779"/>
                </a:cubicBezTo>
                <a:close/>
                <a:moveTo>
                  <a:pt x="1383" y="5773"/>
                </a:moveTo>
                <a:cubicBezTo>
                  <a:pt x="1370" y="5773"/>
                  <a:pt x="1350" y="5779"/>
                  <a:pt x="1350" y="5792"/>
                </a:cubicBezTo>
                <a:cubicBezTo>
                  <a:pt x="1370" y="5798"/>
                  <a:pt x="1383" y="5785"/>
                  <a:pt x="1383" y="5773"/>
                </a:cubicBezTo>
                <a:close/>
                <a:moveTo>
                  <a:pt x="7564" y="5767"/>
                </a:moveTo>
                <a:cubicBezTo>
                  <a:pt x="7564" y="5779"/>
                  <a:pt x="7558" y="5786"/>
                  <a:pt x="7558" y="5798"/>
                </a:cubicBezTo>
                <a:cubicBezTo>
                  <a:pt x="7545" y="5805"/>
                  <a:pt x="7545" y="5798"/>
                  <a:pt x="7538" y="5792"/>
                </a:cubicBezTo>
                <a:cubicBezTo>
                  <a:pt x="7538" y="5779"/>
                  <a:pt x="7551" y="5766"/>
                  <a:pt x="7564" y="5767"/>
                </a:cubicBezTo>
                <a:close/>
                <a:moveTo>
                  <a:pt x="287" y="5766"/>
                </a:moveTo>
                <a:cubicBezTo>
                  <a:pt x="293" y="5766"/>
                  <a:pt x="299" y="5767"/>
                  <a:pt x="304" y="5772"/>
                </a:cubicBezTo>
                <a:cubicBezTo>
                  <a:pt x="298" y="5792"/>
                  <a:pt x="272" y="5785"/>
                  <a:pt x="265" y="5797"/>
                </a:cubicBezTo>
                <a:cubicBezTo>
                  <a:pt x="251" y="5788"/>
                  <a:pt x="269" y="5768"/>
                  <a:pt x="287" y="5766"/>
                </a:cubicBezTo>
                <a:close/>
                <a:moveTo>
                  <a:pt x="7222" y="5753"/>
                </a:moveTo>
                <a:cubicBezTo>
                  <a:pt x="7222" y="5753"/>
                  <a:pt x="7222" y="5753"/>
                  <a:pt x="7241" y="5753"/>
                </a:cubicBezTo>
                <a:cubicBezTo>
                  <a:pt x="7241" y="5760"/>
                  <a:pt x="7241" y="5772"/>
                  <a:pt x="7248" y="5772"/>
                </a:cubicBezTo>
                <a:cubicBezTo>
                  <a:pt x="7248" y="5785"/>
                  <a:pt x="7228" y="5772"/>
                  <a:pt x="7215" y="5779"/>
                </a:cubicBezTo>
                <a:cubicBezTo>
                  <a:pt x="7215" y="5766"/>
                  <a:pt x="7222" y="5766"/>
                  <a:pt x="7222" y="5753"/>
                </a:cubicBezTo>
                <a:close/>
                <a:moveTo>
                  <a:pt x="1990" y="5753"/>
                </a:moveTo>
                <a:cubicBezTo>
                  <a:pt x="1990" y="5760"/>
                  <a:pt x="1984" y="5766"/>
                  <a:pt x="1990" y="5772"/>
                </a:cubicBezTo>
                <a:cubicBezTo>
                  <a:pt x="1990" y="5766"/>
                  <a:pt x="1990" y="5760"/>
                  <a:pt x="1996" y="5760"/>
                </a:cubicBezTo>
                <a:cubicBezTo>
                  <a:pt x="1996" y="5785"/>
                  <a:pt x="2016" y="5785"/>
                  <a:pt x="2015" y="5805"/>
                </a:cubicBezTo>
                <a:cubicBezTo>
                  <a:pt x="2022" y="5786"/>
                  <a:pt x="2035" y="5798"/>
                  <a:pt x="2041" y="5792"/>
                </a:cubicBezTo>
                <a:cubicBezTo>
                  <a:pt x="2029" y="5772"/>
                  <a:pt x="2016" y="5753"/>
                  <a:pt x="1990" y="5753"/>
                </a:cubicBezTo>
                <a:close/>
                <a:moveTo>
                  <a:pt x="769" y="5752"/>
                </a:moveTo>
                <a:cubicBezTo>
                  <a:pt x="780" y="5753"/>
                  <a:pt x="776" y="5775"/>
                  <a:pt x="776" y="5792"/>
                </a:cubicBezTo>
                <a:cubicBezTo>
                  <a:pt x="750" y="5786"/>
                  <a:pt x="750" y="5805"/>
                  <a:pt x="718" y="5792"/>
                </a:cubicBezTo>
                <a:cubicBezTo>
                  <a:pt x="730" y="5772"/>
                  <a:pt x="757" y="5779"/>
                  <a:pt x="763" y="5753"/>
                </a:cubicBezTo>
                <a:cubicBezTo>
                  <a:pt x="765" y="5752"/>
                  <a:pt x="767" y="5752"/>
                  <a:pt x="769" y="5752"/>
                </a:cubicBezTo>
                <a:close/>
                <a:moveTo>
                  <a:pt x="7395" y="5746"/>
                </a:moveTo>
                <a:cubicBezTo>
                  <a:pt x="7399" y="5746"/>
                  <a:pt x="7404" y="5746"/>
                  <a:pt x="7409" y="5747"/>
                </a:cubicBezTo>
                <a:cubicBezTo>
                  <a:pt x="7390" y="5773"/>
                  <a:pt x="7421" y="5805"/>
                  <a:pt x="7370" y="5805"/>
                </a:cubicBezTo>
                <a:cubicBezTo>
                  <a:pt x="7377" y="5767"/>
                  <a:pt x="7325" y="5811"/>
                  <a:pt x="7319" y="5792"/>
                </a:cubicBezTo>
                <a:cubicBezTo>
                  <a:pt x="7335" y="5769"/>
                  <a:pt x="7362" y="5747"/>
                  <a:pt x="7395" y="5746"/>
                </a:cubicBezTo>
                <a:close/>
                <a:moveTo>
                  <a:pt x="2102" y="5729"/>
                </a:moveTo>
                <a:cubicBezTo>
                  <a:pt x="2088" y="5729"/>
                  <a:pt x="2069" y="5736"/>
                  <a:pt x="2060" y="5741"/>
                </a:cubicBezTo>
                <a:cubicBezTo>
                  <a:pt x="2074" y="5741"/>
                  <a:pt x="2067" y="5760"/>
                  <a:pt x="2080" y="5760"/>
                </a:cubicBezTo>
                <a:cubicBezTo>
                  <a:pt x="2086" y="5747"/>
                  <a:pt x="2112" y="5747"/>
                  <a:pt x="2119" y="5734"/>
                </a:cubicBezTo>
                <a:cubicBezTo>
                  <a:pt x="2115" y="5730"/>
                  <a:pt x="2109" y="5729"/>
                  <a:pt x="2102" y="5729"/>
                </a:cubicBezTo>
                <a:close/>
                <a:moveTo>
                  <a:pt x="6912" y="5689"/>
                </a:moveTo>
                <a:cubicBezTo>
                  <a:pt x="6899" y="5689"/>
                  <a:pt x="6880" y="5696"/>
                  <a:pt x="6886" y="5721"/>
                </a:cubicBezTo>
                <a:cubicBezTo>
                  <a:pt x="6906" y="5721"/>
                  <a:pt x="6912" y="5708"/>
                  <a:pt x="6912" y="5689"/>
                </a:cubicBezTo>
                <a:close/>
                <a:moveTo>
                  <a:pt x="1273" y="5689"/>
                </a:moveTo>
                <a:cubicBezTo>
                  <a:pt x="1260" y="5696"/>
                  <a:pt x="1234" y="5689"/>
                  <a:pt x="1234" y="5708"/>
                </a:cubicBezTo>
                <a:cubicBezTo>
                  <a:pt x="1253" y="5708"/>
                  <a:pt x="1273" y="5708"/>
                  <a:pt x="1273" y="5689"/>
                </a:cubicBezTo>
                <a:close/>
                <a:moveTo>
                  <a:pt x="5684" y="5664"/>
                </a:moveTo>
                <a:cubicBezTo>
                  <a:pt x="5664" y="5696"/>
                  <a:pt x="5639" y="5677"/>
                  <a:pt x="5619" y="5709"/>
                </a:cubicBezTo>
                <a:cubicBezTo>
                  <a:pt x="5607" y="5703"/>
                  <a:pt x="5607" y="5690"/>
                  <a:pt x="5607" y="5677"/>
                </a:cubicBezTo>
                <a:cubicBezTo>
                  <a:pt x="5581" y="5677"/>
                  <a:pt x="5562" y="5677"/>
                  <a:pt x="5562" y="5696"/>
                </a:cubicBezTo>
                <a:cubicBezTo>
                  <a:pt x="5569" y="5703"/>
                  <a:pt x="5581" y="5703"/>
                  <a:pt x="5581" y="5709"/>
                </a:cubicBezTo>
                <a:cubicBezTo>
                  <a:pt x="5575" y="5722"/>
                  <a:pt x="5562" y="5728"/>
                  <a:pt x="5549" y="5734"/>
                </a:cubicBezTo>
                <a:cubicBezTo>
                  <a:pt x="5562" y="5734"/>
                  <a:pt x="5542" y="5773"/>
                  <a:pt x="5562" y="5773"/>
                </a:cubicBezTo>
                <a:cubicBezTo>
                  <a:pt x="5562" y="5760"/>
                  <a:pt x="5575" y="5760"/>
                  <a:pt x="5581" y="5760"/>
                </a:cubicBezTo>
                <a:cubicBezTo>
                  <a:pt x="5581" y="5767"/>
                  <a:pt x="5588" y="5779"/>
                  <a:pt x="5588" y="5786"/>
                </a:cubicBezTo>
                <a:cubicBezTo>
                  <a:pt x="5574" y="5786"/>
                  <a:pt x="5562" y="5792"/>
                  <a:pt x="5562" y="5805"/>
                </a:cubicBezTo>
                <a:cubicBezTo>
                  <a:pt x="5600" y="5817"/>
                  <a:pt x="5633" y="5772"/>
                  <a:pt x="5665" y="5753"/>
                </a:cubicBezTo>
                <a:cubicBezTo>
                  <a:pt x="5672" y="5727"/>
                  <a:pt x="5659" y="5721"/>
                  <a:pt x="5653" y="5708"/>
                </a:cubicBezTo>
                <a:cubicBezTo>
                  <a:pt x="5665" y="5708"/>
                  <a:pt x="5672" y="5721"/>
                  <a:pt x="5685" y="5715"/>
                </a:cubicBezTo>
                <a:cubicBezTo>
                  <a:pt x="5678" y="5696"/>
                  <a:pt x="5710" y="5670"/>
                  <a:pt x="5684" y="5664"/>
                </a:cubicBezTo>
                <a:close/>
                <a:moveTo>
                  <a:pt x="7745" y="5651"/>
                </a:moveTo>
                <a:cubicBezTo>
                  <a:pt x="7770" y="5651"/>
                  <a:pt x="7739" y="5677"/>
                  <a:pt x="7759" y="5683"/>
                </a:cubicBezTo>
                <a:cubicBezTo>
                  <a:pt x="7745" y="5702"/>
                  <a:pt x="7720" y="5696"/>
                  <a:pt x="7700" y="5708"/>
                </a:cubicBezTo>
                <a:cubicBezTo>
                  <a:pt x="7706" y="5670"/>
                  <a:pt x="7719" y="5670"/>
                  <a:pt x="7745" y="5651"/>
                </a:cubicBezTo>
                <a:close/>
                <a:moveTo>
                  <a:pt x="982" y="5645"/>
                </a:moveTo>
                <a:cubicBezTo>
                  <a:pt x="996" y="5651"/>
                  <a:pt x="1008" y="5651"/>
                  <a:pt x="1002" y="5670"/>
                </a:cubicBezTo>
                <a:cubicBezTo>
                  <a:pt x="1002" y="5670"/>
                  <a:pt x="1002" y="5670"/>
                  <a:pt x="982" y="5670"/>
                </a:cubicBezTo>
                <a:cubicBezTo>
                  <a:pt x="976" y="5658"/>
                  <a:pt x="982" y="5651"/>
                  <a:pt x="982" y="5645"/>
                </a:cubicBezTo>
                <a:close/>
                <a:moveTo>
                  <a:pt x="6370" y="5632"/>
                </a:moveTo>
                <a:cubicBezTo>
                  <a:pt x="6363" y="5682"/>
                  <a:pt x="6298" y="5670"/>
                  <a:pt x="6298" y="5721"/>
                </a:cubicBezTo>
                <a:cubicBezTo>
                  <a:pt x="6350" y="5715"/>
                  <a:pt x="6382" y="5689"/>
                  <a:pt x="6402" y="5644"/>
                </a:cubicBezTo>
                <a:cubicBezTo>
                  <a:pt x="6389" y="5644"/>
                  <a:pt x="6389" y="5632"/>
                  <a:pt x="6370" y="5632"/>
                </a:cubicBezTo>
                <a:close/>
                <a:moveTo>
                  <a:pt x="938" y="5626"/>
                </a:moveTo>
                <a:lnTo>
                  <a:pt x="940" y="5627"/>
                </a:lnTo>
                <a:cubicBezTo>
                  <a:pt x="976" y="5646"/>
                  <a:pt x="884" y="5677"/>
                  <a:pt x="853" y="5696"/>
                </a:cubicBezTo>
                <a:cubicBezTo>
                  <a:pt x="865" y="5659"/>
                  <a:pt x="895" y="5635"/>
                  <a:pt x="935" y="5627"/>
                </a:cubicBezTo>
                <a:lnTo>
                  <a:pt x="938" y="5626"/>
                </a:lnTo>
                <a:close/>
                <a:moveTo>
                  <a:pt x="937" y="5625"/>
                </a:moveTo>
                <a:cubicBezTo>
                  <a:pt x="944" y="5625"/>
                  <a:pt x="944" y="5625"/>
                  <a:pt x="944" y="5625"/>
                </a:cubicBezTo>
                <a:lnTo>
                  <a:pt x="938" y="5626"/>
                </a:lnTo>
                <a:lnTo>
                  <a:pt x="937" y="5625"/>
                </a:lnTo>
                <a:close/>
                <a:moveTo>
                  <a:pt x="7177" y="5613"/>
                </a:moveTo>
                <a:cubicBezTo>
                  <a:pt x="7189" y="5638"/>
                  <a:pt x="7196" y="5702"/>
                  <a:pt x="7234" y="5703"/>
                </a:cubicBezTo>
                <a:cubicBezTo>
                  <a:pt x="7222" y="5735"/>
                  <a:pt x="7209" y="5754"/>
                  <a:pt x="7183" y="5767"/>
                </a:cubicBezTo>
                <a:cubicBezTo>
                  <a:pt x="7177" y="5709"/>
                  <a:pt x="7183" y="5696"/>
                  <a:pt x="7132" y="5658"/>
                </a:cubicBezTo>
                <a:cubicBezTo>
                  <a:pt x="7138" y="5632"/>
                  <a:pt x="7164" y="5632"/>
                  <a:pt x="7177" y="5613"/>
                </a:cubicBezTo>
                <a:close/>
                <a:moveTo>
                  <a:pt x="1406" y="5597"/>
                </a:moveTo>
                <a:cubicBezTo>
                  <a:pt x="1379" y="5596"/>
                  <a:pt x="1324" y="5625"/>
                  <a:pt x="1357" y="5625"/>
                </a:cubicBezTo>
                <a:cubicBezTo>
                  <a:pt x="1331" y="5638"/>
                  <a:pt x="1299" y="5651"/>
                  <a:pt x="1286" y="5683"/>
                </a:cubicBezTo>
                <a:cubicBezTo>
                  <a:pt x="1293" y="5683"/>
                  <a:pt x="1293" y="5696"/>
                  <a:pt x="1299" y="5702"/>
                </a:cubicBezTo>
                <a:cubicBezTo>
                  <a:pt x="1363" y="5689"/>
                  <a:pt x="1376" y="5632"/>
                  <a:pt x="1416" y="5600"/>
                </a:cubicBezTo>
                <a:cubicBezTo>
                  <a:pt x="1413" y="5598"/>
                  <a:pt x="1410" y="5598"/>
                  <a:pt x="1406" y="5597"/>
                </a:cubicBezTo>
                <a:close/>
                <a:moveTo>
                  <a:pt x="1273" y="5574"/>
                </a:moveTo>
                <a:cubicBezTo>
                  <a:pt x="1260" y="5581"/>
                  <a:pt x="1228" y="5600"/>
                  <a:pt x="1241" y="5613"/>
                </a:cubicBezTo>
                <a:cubicBezTo>
                  <a:pt x="1253" y="5600"/>
                  <a:pt x="1267" y="5594"/>
                  <a:pt x="1273" y="5574"/>
                </a:cubicBezTo>
                <a:close/>
                <a:moveTo>
                  <a:pt x="7118" y="5568"/>
                </a:moveTo>
                <a:cubicBezTo>
                  <a:pt x="7061" y="5580"/>
                  <a:pt x="7002" y="5600"/>
                  <a:pt x="6995" y="5664"/>
                </a:cubicBezTo>
                <a:cubicBezTo>
                  <a:pt x="7027" y="5658"/>
                  <a:pt x="7066" y="5638"/>
                  <a:pt x="7053" y="5606"/>
                </a:cubicBezTo>
                <a:cubicBezTo>
                  <a:pt x="7079" y="5600"/>
                  <a:pt x="7072" y="5600"/>
                  <a:pt x="7098" y="5606"/>
                </a:cubicBezTo>
                <a:cubicBezTo>
                  <a:pt x="7106" y="5593"/>
                  <a:pt x="7118" y="5587"/>
                  <a:pt x="7118" y="5568"/>
                </a:cubicBezTo>
                <a:close/>
                <a:moveTo>
                  <a:pt x="1344" y="5568"/>
                </a:moveTo>
                <a:cubicBezTo>
                  <a:pt x="1312" y="5587"/>
                  <a:pt x="1293" y="5600"/>
                  <a:pt x="1267" y="5619"/>
                </a:cubicBezTo>
                <a:cubicBezTo>
                  <a:pt x="1273" y="5619"/>
                  <a:pt x="1267" y="5625"/>
                  <a:pt x="1273" y="5625"/>
                </a:cubicBezTo>
                <a:cubicBezTo>
                  <a:pt x="1299" y="5606"/>
                  <a:pt x="1331" y="5600"/>
                  <a:pt x="1344" y="5568"/>
                </a:cubicBezTo>
                <a:close/>
                <a:moveTo>
                  <a:pt x="1116" y="5559"/>
                </a:moveTo>
                <a:cubicBezTo>
                  <a:pt x="1126" y="5560"/>
                  <a:pt x="1135" y="5564"/>
                  <a:pt x="1143" y="5574"/>
                </a:cubicBezTo>
                <a:cubicBezTo>
                  <a:pt x="1125" y="5606"/>
                  <a:pt x="1072" y="5632"/>
                  <a:pt x="1040" y="5613"/>
                </a:cubicBezTo>
                <a:cubicBezTo>
                  <a:pt x="1055" y="5588"/>
                  <a:pt x="1087" y="5557"/>
                  <a:pt x="1116" y="5559"/>
                </a:cubicBezTo>
                <a:close/>
                <a:moveTo>
                  <a:pt x="7158" y="5542"/>
                </a:moveTo>
                <a:cubicBezTo>
                  <a:pt x="7145" y="5555"/>
                  <a:pt x="7125" y="5555"/>
                  <a:pt x="7125" y="5580"/>
                </a:cubicBezTo>
                <a:cubicBezTo>
                  <a:pt x="7144" y="5580"/>
                  <a:pt x="7177" y="5561"/>
                  <a:pt x="7158" y="5542"/>
                </a:cubicBezTo>
                <a:close/>
                <a:moveTo>
                  <a:pt x="1382" y="5541"/>
                </a:moveTo>
                <a:cubicBezTo>
                  <a:pt x="1366" y="5541"/>
                  <a:pt x="1352" y="5557"/>
                  <a:pt x="1363" y="5568"/>
                </a:cubicBezTo>
                <a:cubicBezTo>
                  <a:pt x="1383" y="5568"/>
                  <a:pt x="1389" y="5561"/>
                  <a:pt x="1389" y="5542"/>
                </a:cubicBezTo>
                <a:cubicBezTo>
                  <a:pt x="1387" y="5542"/>
                  <a:pt x="1384" y="5541"/>
                  <a:pt x="1382" y="5541"/>
                </a:cubicBezTo>
                <a:close/>
                <a:moveTo>
                  <a:pt x="5814" y="5530"/>
                </a:moveTo>
                <a:cubicBezTo>
                  <a:pt x="5814" y="5542"/>
                  <a:pt x="5801" y="5542"/>
                  <a:pt x="5781" y="5542"/>
                </a:cubicBezTo>
                <a:cubicBezTo>
                  <a:pt x="5775" y="5561"/>
                  <a:pt x="5761" y="5575"/>
                  <a:pt x="5749" y="5600"/>
                </a:cubicBezTo>
                <a:cubicBezTo>
                  <a:pt x="5755" y="5600"/>
                  <a:pt x="5761" y="5600"/>
                  <a:pt x="5761" y="5606"/>
                </a:cubicBezTo>
                <a:cubicBezTo>
                  <a:pt x="5788" y="5600"/>
                  <a:pt x="5806" y="5574"/>
                  <a:pt x="5826" y="5555"/>
                </a:cubicBezTo>
                <a:cubicBezTo>
                  <a:pt x="5820" y="5549"/>
                  <a:pt x="5820" y="5530"/>
                  <a:pt x="5814" y="5530"/>
                </a:cubicBezTo>
                <a:close/>
                <a:moveTo>
                  <a:pt x="659" y="5491"/>
                </a:moveTo>
                <a:cubicBezTo>
                  <a:pt x="659" y="5491"/>
                  <a:pt x="659" y="5491"/>
                  <a:pt x="679" y="5491"/>
                </a:cubicBezTo>
                <a:cubicBezTo>
                  <a:pt x="679" y="5510"/>
                  <a:pt x="659" y="5510"/>
                  <a:pt x="647" y="5516"/>
                </a:cubicBezTo>
                <a:cubicBezTo>
                  <a:pt x="647" y="5504"/>
                  <a:pt x="666" y="5510"/>
                  <a:pt x="659" y="5491"/>
                </a:cubicBezTo>
                <a:close/>
                <a:moveTo>
                  <a:pt x="5639" y="5472"/>
                </a:moveTo>
                <a:cubicBezTo>
                  <a:pt x="5608" y="5472"/>
                  <a:pt x="5600" y="5491"/>
                  <a:pt x="5588" y="5504"/>
                </a:cubicBezTo>
                <a:cubicBezTo>
                  <a:pt x="5614" y="5516"/>
                  <a:pt x="5633" y="5491"/>
                  <a:pt x="5639" y="5472"/>
                </a:cubicBezTo>
                <a:close/>
                <a:moveTo>
                  <a:pt x="6606" y="5471"/>
                </a:moveTo>
                <a:cubicBezTo>
                  <a:pt x="6591" y="5472"/>
                  <a:pt x="6598" y="5490"/>
                  <a:pt x="6576" y="5485"/>
                </a:cubicBezTo>
                <a:cubicBezTo>
                  <a:pt x="6582" y="5505"/>
                  <a:pt x="6589" y="5517"/>
                  <a:pt x="6602" y="5523"/>
                </a:cubicBezTo>
                <a:cubicBezTo>
                  <a:pt x="6608" y="5510"/>
                  <a:pt x="6614" y="5497"/>
                  <a:pt x="6614" y="5472"/>
                </a:cubicBezTo>
                <a:cubicBezTo>
                  <a:pt x="6611" y="5471"/>
                  <a:pt x="6608" y="5471"/>
                  <a:pt x="6606" y="5471"/>
                </a:cubicBezTo>
                <a:close/>
                <a:moveTo>
                  <a:pt x="1415" y="5466"/>
                </a:moveTo>
                <a:cubicBezTo>
                  <a:pt x="1357" y="5478"/>
                  <a:pt x="1338" y="5530"/>
                  <a:pt x="1299" y="5555"/>
                </a:cubicBezTo>
                <a:cubicBezTo>
                  <a:pt x="1344" y="5530"/>
                  <a:pt x="1395" y="5510"/>
                  <a:pt x="1415" y="5466"/>
                </a:cubicBezTo>
                <a:close/>
                <a:moveTo>
                  <a:pt x="5801" y="5452"/>
                </a:moveTo>
                <a:cubicBezTo>
                  <a:pt x="5807" y="5472"/>
                  <a:pt x="5807" y="5466"/>
                  <a:pt x="5801" y="5484"/>
                </a:cubicBezTo>
                <a:cubicBezTo>
                  <a:pt x="5827" y="5484"/>
                  <a:pt x="5827" y="5452"/>
                  <a:pt x="5801" y="5452"/>
                </a:cubicBezTo>
                <a:close/>
                <a:moveTo>
                  <a:pt x="7545" y="5446"/>
                </a:moveTo>
                <a:cubicBezTo>
                  <a:pt x="7519" y="5446"/>
                  <a:pt x="7506" y="5460"/>
                  <a:pt x="7493" y="5471"/>
                </a:cubicBezTo>
                <a:cubicBezTo>
                  <a:pt x="7512" y="5465"/>
                  <a:pt x="7545" y="5471"/>
                  <a:pt x="7545" y="5446"/>
                </a:cubicBezTo>
                <a:close/>
                <a:moveTo>
                  <a:pt x="5994" y="5440"/>
                </a:moveTo>
                <a:cubicBezTo>
                  <a:pt x="5962" y="5446"/>
                  <a:pt x="5949" y="5472"/>
                  <a:pt x="5968" y="5497"/>
                </a:cubicBezTo>
                <a:cubicBezTo>
                  <a:pt x="5994" y="5497"/>
                  <a:pt x="6007" y="5491"/>
                  <a:pt x="6001" y="5466"/>
                </a:cubicBezTo>
                <a:cubicBezTo>
                  <a:pt x="5968" y="5472"/>
                  <a:pt x="6008" y="5460"/>
                  <a:pt x="5994" y="5440"/>
                </a:cubicBezTo>
                <a:close/>
                <a:moveTo>
                  <a:pt x="1180" y="5434"/>
                </a:moveTo>
                <a:cubicBezTo>
                  <a:pt x="1201" y="5433"/>
                  <a:pt x="1218" y="5452"/>
                  <a:pt x="1228" y="5466"/>
                </a:cubicBezTo>
                <a:cubicBezTo>
                  <a:pt x="1196" y="5478"/>
                  <a:pt x="1183" y="5485"/>
                  <a:pt x="1151" y="5485"/>
                </a:cubicBezTo>
                <a:cubicBezTo>
                  <a:pt x="1143" y="5497"/>
                  <a:pt x="1163" y="5460"/>
                  <a:pt x="1157" y="5441"/>
                </a:cubicBezTo>
                <a:cubicBezTo>
                  <a:pt x="1165" y="5436"/>
                  <a:pt x="1173" y="5434"/>
                  <a:pt x="1180" y="5434"/>
                </a:cubicBezTo>
                <a:close/>
                <a:moveTo>
                  <a:pt x="718" y="5421"/>
                </a:moveTo>
                <a:cubicBezTo>
                  <a:pt x="730" y="5433"/>
                  <a:pt x="698" y="5460"/>
                  <a:pt x="679" y="5452"/>
                </a:cubicBezTo>
                <a:cubicBezTo>
                  <a:pt x="692" y="5440"/>
                  <a:pt x="698" y="5427"/>
                  <a:pt x="718" y="5421"/>
                </a:cubicBezTo>
                <a:close/>
                <a:moveTo>
                  <a:pt x="6251" y="5420"/>
                </a:moveTo>
                <a:cubicBezTo>
                  <a:pt x="6258" y="5419"/>
                  <a:pt x="6254" y="5433"/>
                  <a:pt x="6265" y="5433"/>
                </a:cubicBezTo>
                <a:cubicBezTo>
                  <a:pt x="6259" y="5452"/>
                  <a:pt x="6233" y="5446"/>
                  <a:pt x="6227" y="5459"/>
                </a:cubicBezTo>
                <a:cubicBezTo>
                  <a:pt x="6220" y="5459"/>
                  <a:pt x="6214" y="5446"/>
                  <a:pt x="6214" y="5433"/>
                </a:cubicBezTo>
                <a:cubicBezTo>
                  <a:pt x="6234" y="5427"/>
                  <a:pt x="6253" y="5452"/>
                  <a:pt x="6246" y="5421"/>
                </a:cubicBezTo>
                <a:cubicBezTo>
                  <a:pt x="6248" y="5420"/>
                  <a:pt x="6249" y="5420"/>
                  <a:pt x="6251" y="5420"/>
                </a:cubicBezTo>
                <a:close/>
                <a:moveTo>
                  <a:pt x="7151" y="5415"/>
                </a:moveTo>
                <a:cubicBezTo>
                  <a:pt x="7125" y="5428"/>
                  <a:pt x="7132" y="5441"/>
                  <a:pt x="7119" y="5453"/>
                </a:cubicBezTo>
                <a:cubicBezTo>
                  <a:pt x="7119" y="5427"/>
                  <a:pt x="7073" y="5466"/>
                  <a:pt x="7093" y="5472"/>
                </a:cubicBezTo>
                <a:cubicBezTo>
                  <a:pt x="7100" y="5466"/>
                  <a:pt x="7106" y="5460"/>
                  <a:pt x="7113" y="5453"/>
                </a:cubicBezTo>
                <a:cubicBezTo>
                  <a:pt x="7106" y="5472"/>
                  <a:pt x="7100" y="5485"/>
                  <a:pt x="7080" y="5485"/>
                </a:cubicBezTo>
                <a:cubicBezTo>
                  <a:pt x="7080" y="5460"/>
                  <a:pt x="7061" y="5491"/>
                  <a:pt x="7048" y="5472"/>
                </a:cubicBezTo>
                <a:cubicBezTo>
                  <a:pt x="7042" y="5491"/>
                  <a:pt x="7054" y="5485"/>
                  <a:pt x="7054" y="5504"/>
                </a:cubicBezTo>
                <a:cubicBezTo>
                  <a:pt x="7079" y="5510"/>
                  <a:pt x="7106" y="5510"/>
                  <a:pt x="7092" y="5543"/>
                </a:cubicBezTo>
                <a:cubicBezTo>
                  <a:pt x="7124" y="5523"/>
                  <a:pt x="7138" y="5530"/>
                  <a:pt x="7183" y="5498"/>
                </a:cubicBezTo>
                <a:cubicBezTo>
                  <a:pt x="7183" y="5478"/>
                  <a:pt x="7170" y="5472"/>
                  <a:pt x="7177" y="5453"/>
                </a:cubicBezTo>
                <a:cubicBezTo>
                  <a:pt x="7158" y="5453"/>
                  <a:pt x="7132" y="5472"/>
                  <a:pt x="7125" y="5453"/>
                </a:cubicBezTo>
                <a:cubicBezTo>
                  <a:pt x="7139" y="5440"/>
                  <a:pt x="7171" y="5433"/>
                  <a:pt x="7151" y="5415"/>
                </a:cubicBezTo>
                <a:close/>
                <a:moveTo>
                  <a:pt x="6764" y="5408"/>
                </a:moveTo>
                <a:cubicBezTo>
                  <a:pt x="6744" y="5434"/>
                  <a:pt x="6744" y="5441"/>
                  <a:pt x="6731" y="5466"/>
                </a:cubicBezTo>
                <a:cubicBezTo>
                  <a:pt x="6756" y="5466"/>
                  <a:pt x="6756" y="5478"/>
                  <a:pt x="6776" y="5478"/>
                </a:cubicBezTo>
                <a:cubicBezTo>
                  <a:pt x="6770" y="5447"/>
                  <a:pt x="6770" y="5421"/>
                  <a:pt x="6764" y="5408"/>
                </a:cubicBezTo>
                <a:close/>
                <a:moveTo>
                  <a:pt x="7182" y="5374"/>
                </a:moveTo>
                <a:cubicBezTo>
                  <a:pt x="7186" y="5374"/>
                  <a:pt x="7191" y="5375"/>
                  <a:pt x="7195" y="5377"/>
                </a:cubicBezTo>
                <a:cubicBezTo>
                  <a:pt x="7175" y="5383"/>
                  <a:pt x="7175" y="5409"/>
                  <a:pt x="7162" y="5422"/>
                </a:cubicBezTo>
                <a:cubicBezTo>
                  <a:pt x="7162" y="5434"/>
                  <a:pt x="7176" y="5441"/>
                  <a:pt x="7182" y="5453"/>
                </a:cubicBezTo>
                <a:cubicBezTo>
                  <a:pt x="7188" y="5447"/>
                  <a:pt x="7202" y="5447"/>
                  <a:pt x="7214" y="5453"/>
                </a:cubicBezTo>
                <a:cubicBezTo>
                  <a:pt x="7214" y="5460"/>
                  <a:pt x="7221" y="5466"/>
                  <a:pt x="7221" y="5472"/>
                </a:cubicBezTo>
                <a:cubicBezTo>
                  <a:pt x="7201" y="5478"/>
                  <a:pt x="7207" y="5466"/>
                  <a:pt x="7195" y="5460"/>
                </a:cubicBezTo>
                <a:cubicBezTo>
                  <a:pt x="7202" y="5504"/>
                  <a:pt x="7227" y="5472"/>
                  <a:pt x="7253" y="5472"/>
                </a:cubicBezTo>
                <a:cubicBezTo>
                  <a:pt x="7247" y="5485"/>
                  <a:pt x="7234" y="5478"/>
                  <a:pt x="7241" y="5497"/>
                </a:cubicBezTo>
                <a:cubicBezTo>
                  <a:pt x="7267" y="5517"/>
                  <a:pt x="7292" y="5485"/>
                  <a:pt x="7312" y="5478"/>
                </a:cubicBezTo>
                <a:cubicBezTo>
                  <a:pt x="7299" y="5497"/>
                  <a:pt x="7331" y="5497"/>
                  <a:pt x="7331" y="5485"/>
                </a:cubicBezTo>
                <a:cubicBezTo>
                  <a:pt x="7344" y="5491"/>
                  <a:pt x="7319" y="5497"/>
                  <a:pt x="7331" y="5516"/>
                </a:cubicBezTo>
                <a:cubicBezTo>
                  <a:pt x="7189" y="5574"/>
                  <a:pt x="7067" y="5658"/>
                  <a:pt x="6957" y="5753"/>
                </a:cubicBezTo>
                <a:cubicBezTo>
                  <a:pt x="6963" y="5760"/>
                  <a:pt x="6963" y="5766"/>
                  <a:pt x="6963" y="5785"/>
                </a:cubicBezTo>
                <a:cubicBezTo>
                  <a:pt x="6982" y="5785"/>
                  <a:pt x="6989" y="5753"/>
                  <a:pt x="7002" y="5772"/>
                </a:cubicBezTo>
                <a:cubicBezTo>
                  <a:pt x="7027" y="5741"/>
                  <a:pt x="7047" y="5721"/>
                  <a:pt x="7053" y="5689"/>
                </a:cubicBezTo>
                <a:cubicBezTo>
                  <a:pt x="7067" y="5689"/>
                  <a:pt x="7060" y="5715"/>
                  <a:pt x="7079" y="5708"/>
                </a:cubicBezTo>
                <a:cubicBezTo>
                  <a:pt x="7073" y="5721"/>
                  <a:pt x="7086" y="5727"/>
                  <a:pt x="7086" y="5740"/>
                </a:cubicBezTo>
                <a:cubicBezTo>
                  <a:pt x="7060" y="5746"/>
                  <a:pt x="7079" y="5752"/>
                  <a:pt x="7066" y="5771"/>
                </a:cubicBezTo>
                <a:cubicBezTo>
                  <a:pt x="7086" y="5771"/>
                  <a:pt x="7073" y="5797"/>
                  <a:pt x="7086" y="5790"/>
                </a:cubicBezTo>
                <a:cubicBezTo>
                  <a:pt x="7086" y="5848"/>
                  <a:pt x="6982" y="5868"/>
                  <a:pt x="6950" y="5899"/>
                </a:cubicBezTo>
                <a:cubicBezTo>
                  <a:pt x="6924" y="5874"/>
                  <a:pt x="6989" y="5849"/>
                  <a:pt x="6989" y="5810"/>
                </a:cubicBezTo>
                <a:cubicBezTo>
                  <a:pt x="6944" y="5772"/>
                  <a:pt x="6885" y="5881"/>
                  <a:pt x="6911" y="5913"/>
                </a:cubicBezTo>
                <a:cubicBezTo>
                  <a:pt x="6911" y="5933"/>
                  <a:pt x="6899" y="5939"/>
                  <a:pt x="6899" y="5958"/>
                </a:cubicBezTo>
                <a:cubicBezTo>
                  <a:pt x="6886" y="5951"/>
                  <a:pt x="6866" y="5939"/>
                  <a:pt x="6860" y="5958"/>
                </a:cubicBezTo>
                <a:cubicBezTo>
                  <a:pt x="6860" y="5945"/>
                  <a:pt x="6860" y="5926"/>
                  <a:pt x="6834" y="5926"/>
                </a:cubicBezTo>
                <a:cubicBezTo>
                  <a:pt x="6821" y="5939"/>
                  <a:pt x="6809" y="5951"/>
                  <a:pt x="6789" y="5958"/>
                </a:cubicBezTo>
                <a:cubicBezTo>
                  <a:pt x="6776" y="5894"/>
                  <a:pt x="6841" y="5887"/>
                  <a:pt x="6873" y="5844"/>
                </a:cubicBezTo>
                <a:cubicBezTo>
                  <a:pt x="6867" y="5818"/>
                  <a:pt x="6854" y="5793"/>
                  <a:pt x="6822" y="5793"/>
                </a:cubicBezTo>
                <a:cubicBezTo>
                  <a:pt x="6835" y="5774"/>
                  <a:pt x="6835" y="5748"/>
                  <a:pt x="6854" y="5735"/>
                </a:cubicBezTo>
                <a:cubicBezTo>
                  <a:pt x="6854" y="5722"/>
                  <a:pt x="6835" y="5735"/>
                  <a:pt x="6835" y="5722"/>
                </a:cubicBezTo>
                <a:cubicBezTo>
                  <a:pt x="6835" y="5696"/>
                  <a:pt x="6866" y="5696"/>
                  <a:pt x="6886" y="5684"/>
                </a:cubicBezTo>
                <a:cubicBezTo>
                  <a:pt x="6892" y="5651"/>
                  <a:pt x="6867" y="5651"/>
                  <a:pt x="6880" y="5626"/>
                </a:cubicBezTo>
                <a:cubicBezTo>
                  <a:pt x="6886" y="5640"/>
                  <a:pt x="6892" y="5652"/>
                  <a:pt x="6892" y="5671"/>
                </a:cubicBezTo>
                <a:cubicBezTo>
                  <a:pt x="6944" y="5671"/>
                  <a:pt x="6989" y="5595"/>
                  <a:pt x="6970" y="5556"/>
                </a:cubicBezTo>
                <a:cubicBezTo>
                  <a:pt x="6970" y="5550"/>
                  <a:pt x="6982" y="5556"/>
                  <a:pt x="6982" y="5543"/>
                </a:cubicBezTo>
                <a:cubicBezTo>
                  <a:pt x="7002" y="5556"/>
                  <a:pt x="7008" y="5576"/>
                  <a:pt x="7002" y="5601"/>
                </a:cubicBezTo>
                <a:cubicBezTo>
                  <a:pt x="7034" y="5601"/>
                  <a:pt x="7053" y="5581"/>
                  <a:pt x="7073" y="5556"/>
                </a:cubicBezTo>
                <a:cubicBezTo>
                  <a:pt x="7073" y="5543"/>
                  <a:pt x="7060" y="5524"/>
                  <a:pt x="7053" y="5543"/>
                </a:cubicBezTo>
                <a:cubicBezTo>
                  <a:pt x="7047" y="5531"/>
                  <a:pt x="7053" y="5518"/>
                  <a:pt x="7021" y="5531"/>
                </a:cubicBezTo>
                <a:cubicBezTo>
                  <a:pt x="7021" y="5505"/>
                  <a:pt x="7027" y="5479"/>
                  <a:pt x="7001" y="5492"/>
                </a:cubicBezTo>
                <a:cubicBezTo>
                  <a:pt x="7014" y="5441"/>
                  <a:pt x="7059" y="5453"/>
                  <a:pt x="7085" y="5434"/>
                </a:cubicBezTo>
                <a:cubicBezTo>
                  <a:pt x="7091" y="5415"/>
                  <a:pt x="7072" y="5415"/>
                  <a:pt x="7079" y="5396"/>
                </a:cubicBezTo>
                <a:cubicBezTo>
                  <a:pt x="7108" y="5436"/>
                  <a:pt x="7143" y="5372"/>
                  <a:pt x="7182" y="5374"/>
                </a:cubicBezTo>
                <a:close/>
                <a:moveTo>
                  <a:pt x="7215" y="5363"/>
                </a:moveTo>
                <a:cubicBezTo>
                  <a:pt x="7215" y="5363"/>
                  <a:pt x="7215" y="5363"/>
                  <a:pt x="7222" y="5363"/>
                </a:cubicBezTo>
                <a:cubicBezTo>
                  <a:pt x="7215" y="5363"/>
                  <a:pt x="7215" y="5370"/>
                  <a:pt x="7215" y="5376"/>
                </a:cubicBezTo>
                <a:lnTo>
                  <a:pt x="7215" y="5363"/>
                </a:lnTo>
                <a:close/>
                <a:moveTo>
                  <a:pt x="6840" y="5363"/>
                </a:moveTo>
                <a:cubicBezTo>
                  <a:pt x="6840" y="5376"/>
                  <a:pt x="6801" y="5376"/>
                  <a:pt x="6828" y="5388"/>
                </a:cubicBezTo>
                <a:cubicBezTo>
                  <a:pt x="6834" y="5388"/>
                  <a:pt x="6866" y="5363"/>
                  <a:pt x="6840" y="5363"/>
                </a:cubicBezTo>
                <a:close/>
                <a:moveTo>
                  <a:pt x="963" y="5357"/>
                </a:moveTo>
                <a:cubicBezTo>
                  <a:pt x="937" y="5396"/>
                  <a:pt x="873" y="5402"/>
                  <a:pt x="839" y="5440"/>
                </a:cubicBezTo>
                <a:cubicBezTo>
                  <a:pt x="839" y="5452"/>
                  <a:pt x="853" y="5452"/>
                  <a:pt x="859" y="5452"/>
                </a:cubicBezTo>
                <a:cubicBezTo>
                  <a:pt x="788" y="5523"/>
                  <a:pt x="678" y="5529"/>
                  <a:pt x="601" y="5593"/>
                </a:cubicBezTo>
                <a:cubicBezTo>
                  <a:pt x="665" y="5536"/>
                  <a:pt x="736" y="5491"/>
                  <a:pt x="794" y="5433"/>
                </a:cubicBezTo>
                <a:cubicBezTo>
                  <a:pt x="807" y="5433"/>
                  <a:pt x="813" y="5440"/>
                  <a:pt x="833" y="5440"/>
                </a:cubicBezTo>
                <a:cubicBezTo>
                  <a:pt x="853" y="5396"/>
                  <a:pt x="918" y="5357"/>
                  <a:pt x="963" y="5357"/>
                </a:cubicBezTo>
                <a:close/>
                <a:moveTo>
                  <a:pt x="1565" y="5344"/>
                </a:moveTo>
                <a:cubicBezTo>
                  <a:pt x="1510" y="5343"/>
                  <a:pt x="1497" y="5379"/>
                  <a:pt x="1473" y="5408"/>
                </a:cubicBezTo>
                <a:cubicBezTo>
                  <a:pt x="1492" y="5427"/>
                  <a:pt x="1518" y="5408"/>
                  <a:pt x="1538" y="5402"/>
                </a:cubicBezTo>
                <a:cubicBezTo>
                  <a:pt x="1531" y="5370"/>
                  <a:pt x="1564" y="5363"/>
                  <a:pt x="1576" y="5344"/>
                </a:cubicBezTo>
                <a:cubicBezTo>
                  <a:pt x="1572" y="5344"/>
                  <a:pt x="1568" y="5344"/>
                  <a:pt x="1565" y="5344"/>
                </a:cubicBezTo>
                <a:close/>
                <a:moveTo>
                  <a:pt x="5802" y="5342"/>
                </a:moveTo>
                <a:cubicBezTo>
                  <a:pt x="5793" y="5341"/>
                  <a:pt x="5791" y="5355"/>
                  <a:pt x="5780" y="5350"/>
                </a:cubicBezTo>
                <a:cubicBezTo>
                  <a:pt x="5780" y="5376"/>
                  <a:pt x="5768" y="5382"/>
                  <a:pt x="5774" y="5401"/>
                </a:cubicBezTo>
                <a:cubicBezTo>
                  <a:pt x="5755" y="5401"/>
                  <a:pt x="5742" y="5414"/>
                  <a:pt x="5729" y="5426"/>
                </a:cubicBezTo>
                <a:cubicBezTo>
                  <a:pt x="5729" y="5414"/>
                  <a:pt x="5749" y="5407"/>
                  <a:pt x="5723" y="5407"/>
                </a:cubicBezTo>
                <a:cubicBezTo>
                  <a:pt x="5710" y="5421"/>
                  <a:pt x="5749" y="5446"/>
                  <a:pt x="5716" y="5452"/>
                </a:cubicBezTo>
                <a:cubicBezTo>
                  <a:pt x="5730" y="5452"/>
                  <a:pt x="5724" y="5472"/>
                  <a:pt x="5735" y="5471"/>
                </a:cubicBezTo>
                <a:cubicBezTo>
                  <a:pt x="5742" y="5433"/>
                  <a:pt x="5794" y="5439"/>
                  <a:pt x="5806" y="5407"/>
                </a:cubicBezTo>
                <a:cubicBezTo>
                  <a:pt x="5806" y="5375"/>
                  <a:pt x="5800" y="5369"/>
                  <a:pt x="5806" y="5343"/>
                </a:cubicBezTo>
                <a:cubicBezTo>
                  <a:pt x="5805" y="5343"/>
                  <a:pt x="5803" y="5342"/>
                  <a:pt x="5802" y="5342"/>
                </a:cubicBezTo>
                <a:close/>
                <a:moveTo>
                  <a:pt x="1079" y="5325"/>
                </a:moveTo>
                <a:cubicBezTo>
                  <a:pt x="1098" y="5338"/>
                  <a:pt x="1060" y="5338"/>
                  <a:pt x="1067" y="5357"/>
                </a:cubicBezTo>
                <a:cubicBezTo>
                  <a:pt x="1054" y="5344"/>
                  <a:pt x="1054" y="5357"/>
                  <a:pt x="1034" y="5357"/>
                </a:cubicBezTo>
                <a:cubicBezTo>
                  <a:pt x="1034" y="5332"/>
                  <a:pt x="1079" y="5351"/>
                  <a:pt x="1079" y="5325"/>
                </a:cubicBezTo>
                <a:close/>
                <a:moveTo>
                  <a:pt x="5826" y="5313"/>
                </a:moveTo>
                <a:cubicBezTo>
                  <a:pt x="5826" y="5319"/>
                  <a:pt x="5820" y="5325"/>
                  <a:pt x="5820" y="5332"/>
                </a:cubicBezTo>
                <a:cubicBezTo>
                  <a:pt x="5840" y="5332"/>
                  <a:pt x="5852" y="5332"/>
                  <a:pt x="5852" y="5313"/>
                </a:cubicBezTo>
                <a:cubicBezTo>
                  <a:pt x="5852" y="5313"/>
                  <a:pt x="5852" y="5313"/>
                  <a:pt x="5826" y="5313"/>
                </a:cubicBezTo>
                <a:close/>
                <a:moveTo>
                  <a:pt x="7829" y="5306"/>
                </a:moveTo>
                <a:cubicBezTo>
                  <a:pt x="7796" y="5312"/>
                  <a:pt x="7790" y="5338"/>
                  <a:pt x="7764" y="5351"/>
                </a:cubicBezTo>
                <a:cubicBezTo>
                  <a:pt x="7796" y="5351"/>
                  <a:pt x="7809" y="5325"/>
                  <a:pt x="7829" y="5306"/>
                </a:cubicBezTo>
                <a:close/>
                <a:moveTo>
                  <a:pt x="6582" y="5300"/>
                </a:moveTo>
                <a:cubicBezTo>
                  <a:pt x="6582" y="5313"/>
                  <a:pt x="6556" y="5332"/>
                  <a:pt x="6582" y="5325"/>
                </a:cubicBezTo>
                <a:cubicBezTo>
                  <a:pt x="6569" y="5363"/>
                  <a:pt x="6537" y="5325"/>
                  <a:pt x="6537" y="5357"/>
                </a:cubicBezTo>
                <a:cubicBezTo>
                  <a:pt x="6518" y="5325"/>
                  <a:pt x="6563" y="5312"/>
                  <a:pt x="6582" y="5300"/>
                </a:cubicBezTo>
                <a:close/>
                <a:moveTo>
                  <a:pt x="852" y="5286"/>
                </a:moveTo>
                <a:cubicBezTo>
                  <a:pt x="864" y="5286"/>
                  <a:pt x="861" y="5304"/>
                  <a:pt x="878" y="5293"/>
                </a:cubicBezTo>
                <a:cubicBezTo>
                  <a:pt x="878" y="5306"/>
                  <a:pt x="865" y="5299"/>
                  <a:pt x="865" y="5299"/>
                </a:cubicBezTo>
                <a:cubicBezTo>
                  <a:pt x="833" y="5357"/>
                  <a:pt x="840" y="5351"/>
                  <a:pt x="782" y="5363"/>
                </a:cubicBezTo>
                <a:cubicBezTo>
                  <a:pt x="757" y="5370"/>
                  <a:pt x="730" y="5382"/>
                  <a:pt x="698" y="5395"/>
                </a:cubicBezTo>
                <a:cubicBezTo>
                  <a:pt x="705" y="5376"/>
                  <a:pt x="730" y="5357"/>
                  <a:pt x="757" y="5370"/>
                </a:cubicBezTo>
                <a:cubicBezTo>
                  <a:pt x="782" y="5332"/>
                  <a:pt x="814" y="5306"/>
                  <a:pt x="846" y="5287"/>
                </a:cubicBezTo>
                <a:cubicBezTo>
                  <a:pt x="848" y="5286"/>
                  <a:pt x="850" y="5286"/>
                  <a:pt x="852" y="5286"/>
                </a:cubicBezTo>
                <a:close/>
                <a:moveTo>
                  <a:pt x="7079" y="5280"/>
                </a:moveTo>
                <a:cubicBezTo>
                  <a:pt x="7093" y="5280"/>
                  <a:pt x="7079" y="5299"/>
                  <a:pt x="7079" y="5299"/>
                </a:cubicBezTo>
                <a:cubicBezTo>
                  <a:pt x="7066" y="5306"/>
                  <a:pt x="7066" y="5299"/>
                  <a:pt x="7053" y="5293"/>
                </a:cubicBezTo>
                <a:cubicBezTo>
                  <a:pt x="7060" y="5287"/>
                  <a:pt x="7073" y="5293"/>
                  <a:pt x="7079" y="5287"/>
                </a:cubicBezTo>
                <a:cubicBezTo>
                  <a:pt x="7079" y="5287"/>
                  <a:pt x="7079" y="5287"/>
                  <a:pt x="7079" y="5280"/>
                </a:cubicBezTo>
                <a:close/>
                <a:moveTo>
                  <a:pt x="6549" y="5274"/>
                </a:moveTo>
                <a:cubicBezTo>
                  <a:pt x="6553" y="5274"/>
                  <a:pt x="6558" y="5276"/>
                  <a:pt x="6563" y="5280"/>
                </a:cubicBezTo>
                <a:cubicBezTo>
                  <a:pt x="6563" y="5306"/>
                  <a:pt x="6543" y="5306"/>
                  <a:pt x="6524" y="5306"/>
                </a:cubicBezTo>
                <a:cubicBezTo>
                  <a:pt x="6524" y="5291"/>
                  <a:pt x="6535" y="5274"/>
                  <a:pt x="6549" y="5274"/>
                </a:cubicBezTo>
                <a:close/>
                <a:moveTo>
                  <a:pt x="7338" y="5268"/>
                </a:moveTo>
                <a:cubicBezTo>
                  <a:pt x="7338" y="5268"/>
                  <a:pt x="7338" y="5280"/>
                  <a:pt x="7351" y="5280"/>
                </a:cubicBezTo>
                <a:cubicBezTo>
                  <a:pt x="7357" y="5299"/>
                  <a:pt x="7331" y="5293"/>
                  <a:pt x="7338" y="5312"/>
                </a:cubicBezTo>
                <a:cubicBezTo>
                  <a:pt x="7306" y="5287"/>
                  <a:pt x="7281" y="5344"/>
                  <a:pt x="7261" y="5363"/>
                </a:cubicBezTo>
                <a:cubicBezTo>
                  <a:pt x="7261" y="5363"/>
                  <a:pt x="7261" y="5363"/>
                  <a:pt x="7222" y="5363"/>
                </a:cubicBezTo>
                <a:cubicBezTo>
                  <a:pt x="7241" y="5325"/>
                  <a:pt x="7319" y="5313"/>
                  <a:pt x="7338" y="5268"/>
                </a:cubicBezTo>
                <a:close/>
                <a:moveTo>
                  <a:pt x="6401" y="5268"/>
                </a:moveTo>
                <a:cubicBezTo>
                  <a:pt x="6415" y="5268"/>
                  <a:pt x="6401" y="5293"/>
                  <a:pt x="6408" y="5299"/>
                </a:cubicBezTo>
                <a:cubicBezTo>
                  <a:pt x="6401" y="5299"/>
                  <a:pt x="6401" y="5287"/>
                  <a:pt x="6388" y="5287"/>
                </a:cubicBezTo>
                <a:cubicBezTo>
                  <a:pt x="6381" y="5274"/>
                  <a:pt x="6401" y="5280"/>
                  <a:pt x="6401" y="5268"/>
                </a:cubicBezTo>
                <a:close/>
                <a:moveTo>
                  <a:pt x="5994" y="5268"/>
                </a:moveTo>
                <a:cubicBezTo>
                  <a:pt x="6014" y="5280"/>
                  <a:pt x="5988" y="5312"/>
                  <a:pt x="5988" y="5325"/>
                </a:cubicBezTo>
                <a:cubicBezTo>
                  <a:pt x="5956" y="5313"/>
                  <a:pt x="5994" y="5287"/>
                  <a:pt x="5994" y="5268"/>
                </a:cubicBezTo>
                <a:close/>
                <a:moveTo>
                  <a:pt x="1564" y="5254"/>
                </a:moveTo>
                <a:cubicBezTo>
                  <a:pt x="1525" y="5268"/>
                  <a:pt x="1525" y="5325"/>
                  <a:pt x="1480" y="5331"/>
                </a:cubicBezTo>
                <a:cubicBezTo>
                  <a:pt x="1519" y="5350"/>
                  <a:pt x="1557" y="5299"/>
                  <a:pt x="1564" y="5254"/>
                </a:cubicBezTo>
                <a:close/>
                <a:moveTo>
                  <a:pt x="7467" y="5248"/>
                </a:moveTo>
                <a:cubicBezTo>
                  <a:pt x="7455" y="5254"/>
                  <a:pt x="7455" y="5280"/>
                  <a:pt x="7474" y="5280"/>
                </a:cubicBezTo>
                <a:cubicBezTo>
                  <a:pt x="7480" y="5267"/>
                  <a:pt x="7480" y="5248"/>
                  <a:pt x="7467" y="5248"/>
                </a:cubicBezTo>
                <a:close/>
                <a:moveTo>
                  <a:pt x="6705" y="5248"/>
                </a:moveTo>
                <a:cubicBezTo>
                  <a:pt x="6705" y="5254"/>
                  <a:pt x="6693" y="5280"/>
                  <a:pt x="6705" y="5280"/>
                </a:cubicBezTo>
                <a:cubicBezTo>
                  <a:pt x="6705" y="5267"/>
                  <a:pt x="6724" y="5267"/>
                  <a:pt x="6718" y="5254"/>
                </a:cubicBezTo>
                <a:cubicBezTo>
                  <a:pt x="6711" y="5254"/>
                  <a:pt x="6711" y="5248"/>
                  <a:pt x="6705" y="5248"/>
                </a:cubicBezTo>
                <a:close/>
                <a:moveTo>
                  <a:pt x="6892" y="5242"/>
                </a:moveTo>
                <a:cubicBezTo>
                  <a:pt x="6879" y="5242"/>
                  <a:pt x="6873" y="5249"/>
                  <a:pt x="6866" y="5261"/>
                </a:cubicBezTo>
                <a:cubicBezTo>
                  <a:pt x="6873" y="5261"/>
                  <a:pt x="6880" y="5261"/>
                  <a:pt x="6886" y="5268"/>
                </a:cubicBezTo>
                <a:cubicBezTo>
                  <a:pt x="6886" y="5261"/>
                  <a:pt x="6892" y="5254"/>
                  <a:pt x="6892" y="5242"/>
                </a:cubicBezTo>
                <a:close/>
                <a:moveTo>
                  <a:pt x="1518" y="5238"/>
                </a:moveTo>
                <a:cubicBezTo>
                  <a:pt x="1491" y="5239"/>
                  <a:pt x="1461" y="5253"/>
                  <a:pt x="1441" y="5268"/>
                </a:cubicBezTo>
                <a:cubicBezTo>
                  <a:pt x="1434" y="5287"/>
                  <a:pt x="1460" y="5274"/>
                  <a:pt x="1461" y="5287"/>
                </a:cubicBezTo>
                <a:cubicBezTo>
                  <a:pt x="1486" y="5281"/>
                  <a:pt x="1551" y="5268"/>
                  <a:pt x="1545" y="5242"/>
                </a:cubicBezTo>
                <a:cubicBezTo>
                  <a:pt x="1537" y="5239"/>
                  <a:pt x="1528" y="5238"/>
                  <a:pt x="1518" y="5238"/>
                </a:cubicBezTo>
                <a:close/>
                <a:moveTo>
                  <a:pt x="6220" y="5216"/>
                </a:moveTo>
                <a:cubicBezTo>
                  <a:pt x="6240" y="5223"/>
                  <a:pt x="6240" y="5235"/>
                  <a:pt x="6246" y="5249"/>
                </a:cubicBezTo>
                <a:cubicBezTo>
                  <a:pt x="6240" y="5255"/>
                  <a:pt x="6220" y="5255"/>
                  <a:pt x="6214" y="5268"/>
                </a:cubicBezTo>
                <a:cubicBezTo>
                  <a:pt x="6208" y="5261"/>
                  <a:pt x="6208" y="5242"/>
                  <a:pt x="6208" y="5229"/>
                </a:cubicBezTo>
                <a:cubicBezTo>
                  <a:pt x="6208" y="5223"/>
                  <a:pt x="6220" y="5229"/>
                  <a:pt x="6220" y="5216"/>
                </a:cubicBezTo>
                <a:close/>
                <a:moveTo>
                  <a:pt x="7177" y="5204"/>
                </a:moveTo>
                <a:cubicBezTo>
                  <a:pt x="7144" y="5204"/>
                  <a:pt x="7138" y="5223"/>
                  <a:pt x="7118" y="5230"/>
                </a:cubicBezTo>
                <a:cubicBezTo>
                  <a:pt x="7138" y="5223"/>
                  <a:pt x="7138" y="5242"/>
                  <a:pt x="7151" y="5242"/>
                </a:cubicBezTo>
                <a:cubicBezTo>
                  <a:pt x="7151" y="5216"/>
                  <a:pt x="7177" y="5223"/>
                  <a:pt x="7177" y="5204"/>
                </a:cubicBezTo>
                <a:close/>
                <a:moveTo>
                  <a:pt x="6723" y="5196"/>
                </a:moveTo>
                <a:cubicBezTo>
                  <a:pt x="6701" y="5195"/>
                  <a:pt x="6679" y="5212"/>
                  <a:pt x="6679" y="5235"/>
                </a:cubicBezTo>
                <a:cubicBezTo>
                  <a:pt x="6718" y="5242"/>
                  <a:pt x="6731" y="5223"/>
                  <a:pt x="6744" y="5204"/>
                </a:cubicBezTo>
                <a:cubicBezTo>
                  <a:pt x="6737" y="5199"/>
                  <a:pt x="6730" y="5196"/>
                  <a:pt x="6723" y="5196"/>
                </a:cubicBezTo>
                <a:close/>
                <a:moveTo>
                  <a:pt x="1251" y="5189"/>
                </a:moveTo>
                <a:cubicBezTo>
                  <a:pt x="1246" y="5189"/>
                  <a:pt x="1241" y="5192"/>
                  <a:pt x="1234" y="5204"/>
                </a:cubicBezTo>
                <a:cubicBezTo>
                  <a:pt x="1234" y="5204"/>
                  <a:pt x="1234" y="5204"/>
                  <a:pt x="1247" y="5204"/>
                </a:cubicBezTo>
                <a:cubicBezTo>
                  <a:pt x="1241" y="5229"/>
                  <a:pt x="1260" y="5223"/>
                  <a:pt x="1267" y="5235"/>
                </a:cubicBezTo>
                <a:cubicBezTo>
                  <a:pt x="1279" y="5235"/>
                  <a:pt x="1286" y="5223"/>
                  <a:pt x="1293" y="5210"/>
                </a:cubicBezTo>
                <a:cubicBezTo>
                  <a:pt x="1273" y="5229"/>
                  <a:pt x="1265" y="5191"/>
                  <a:pt x="1251" y="5189"/>
                </a:cubicBezTo>
                <a:close/>
                <a:moveTo>
                  <a:pt x="1187" y="5159"/>
                </a:moveTo>
                <a:cubicBezTo>
                  <a:pt x="1147" y="5157"/>
                  <a:pt x="1112" y="5182"/>
                  <a:pt x="1086" y="5203"/>
                </a:cubicBezTo>
                <a:cubicBezTo>
                  <a:pt x="1098" y="5223"/>
                  <a:pt x="1086" y="5229"/>
                  <a:pt x="1092" y="5242"/>
                </a:cubicBezTo>
                <a:cubicBezTo>
                  <a:pt x="1125" y="5204"/>
                  <a:pt x="1170" y="5184"/>
                  <a:pt x="1215" y="5164"/>
                </a:cubicBezTo>
                <a:cubicBezTo>
                  <a:pt x="1206" y="5161"/>
                  <a:pt x="1196" y="5159"/>
                  <a:pt x="1187" y="5159"/>
                </a:cubicBezTo>
                <a:close/>
                <a:moveTo>
                  <a:pt x="1105" y="5152"/>
                </a:moveTo>
                <a:cubicBezTo>
                  <a:pt x="1098" y="5159"/>
                  <a:pt x="1086" y="5165"/>
                  <a:pt x="1085" y="5178"/>
                </a:cubicBezTo>
                <a:cubicBezTo>
                  <a:pt x="1092" y="5178"/>
                  <a:pt x="1092" y="5184"/>
                  <a:pt x="1105" y="5184"/>
                </a:cubicBezTo>
                <a:cubicBezTo>
                  <a:pt x="1105" y="5178"/>
                  <a:pt x="1117" y="5152"/>
                  <a:pt x="1105" y="5152"/>
                </a:cubicBezTo>
                <a:close/>
                <a:moveTo>
                  <a:pt x="7500" y="5126"/>
                </a:moveTo>
                <a:cubicBezTo>
                  <a:pt x="7507" y="5133"/>
                  <a:pt x="7513" y="5133"/>
                  <a:pt x="7519" y="5133"/>
                </a:cubicBezTo>
                <a:cubicBezTo>
                  <a:pt x="7519" y="5152"/>
                  <a:pt x="7500" y="5152"/>
                  <a:pt x="7493" y="5171"/>
                </a:cubicBezTo>
                <a:cubicBezTo>
                  <a:pt x="7486" y="5171"/>
                  <a:pt x="7480" y="5165"/>
                  <a:pt x="7474" y="5165"/>
                </a:cubicBezTo>
                <a:cubicBezTo>
                  <a:pt x="7474" y="5146"/>
                  <a:pt x="7493" y="5146"/>
                  <a:pt x="7500" y="5126"/>
                </a:cubicBezTo>
                <a:close/>
                <a:moveTo>
                  <a:pt x="7305" y="5120"/>
                </a:moveTo>
                <a:cubicBezTo>
                  <a:pt x="7305" y="5126"/>
                  <a:pt x="7305" y="5133"/>
                  <a:pt x="7298" y="5133"/>
                </a:cubicBezTo>
                <a:cubicBezTo>
                  <a:pt x="7298" y="5133"/>
                  <a:pt x="7292" y="5126"/>
                  <a:pt x="7292" y="5133"/>
                </a:cubicBezTo>
                <a:cubicBezTo>
                  <a:pt x="7298" y="5133"/>
                  <a:pt x="7298" y="5145"/>
                  <a:pt x="7298" y="5152"/>
                </a:cubicBezTo>
                <a:cubicBezTo>
                  <a:pt x="7298" y="5152"/>
                  <a:pt x="7298" y="5152"/>
                  <a:pt x="7318" y="5152"/>
                </a:cubicBezTo>
                <a:cubicBezTo>
                  <a:pt x="7318" y="5145"/>
                  <a:pt x="7312" y="5139"/>
                  <a:pt x="7312" y="5133"/>
                </a:cubicBezTo>
                <a:cubicBezTo>
                  <a:pt x="7325" y="5139"/>
                  <a:pt x="7331" y="5133"/>
                  <a:pt x="7331" y="5120"/>
                </a:cubicBezTo>
                <a:lnTo>
                  <a:pt x="7305" y="5120"/>
                </a:lnTo>
                <a:close/>
                <a:moveTo>
                  <a:pt x="7699" y="5076"/>
                </a:moveTo>
                <a:cubicBezTo>
                  <a:pt x="7699" y="5076"/>
                  <a:pt x="7699" y="5082"/>
                  <a:pt x="7693" y="5082"/>
                </a:cubicBezTo>
                <a:cubicBezTo>
                  <a:pt x="7693" y="5076"/>
                  <a:pt x="7699" y="5076"/>
                  <a:pt x="7699" y="5076"/>
                </a:cubicBezTo>
                <a:close/>
                <a:moveTo>
                  <a:pt x="6426" y="5067"/>
                </a:moveTo>
                <a:cubicBezTo>
                  <a:pt x="6425" y="5067"/>
                  <a:pt x="6423" y="5067"/>
                  <a:pt x="6421" y="5069"/>
                </a:cubicBezTo>
                <a:cubicBezTo>
                  <a:pt x="6421" y="5069"/>
                  <a:pt x="6421" y="5069"/>
                  <a:pt x="6421" y="5082"/>
                </a:cubicBezTo>
                <a:cubicBezTo>
                  <a:pt x="6428" y="5095"/>
                  <a:pt x="6428" y="5082"/>
                  <a:pt x="6441" y="5082"/>
                </a:cubicBezTo>
                <a:cubicBezTo>
                  <a:pt x="6441" y="5082"/>
                  <a:pt x="6441" y="5082"/>
                  <a:pt x="6441" y="5069"/>
                </a:cubicBezTo>
                <a:cubicBezTo>
                  <a:pt x="6432" y="5069"/>
                  <a:pt x="6429" y="5067"/>
                  <a:pt x="6426" y="5067"/>
                </a:cubicBezTo>
                <a:close/>
                <a:moveTo>
                  <a:pt x="7881" y="5057"/>
                </a:moveTo>
                <a:cubicBezTo>
                  <a:pt x="7868" y="5082"/>
                  <a:pt x="7862" y="5089"/>
                  <a:pt x="7868" y="5121"/>
                </a:cubicBezTo>
                <a:cubicBezTo>
                  <a:pt x="7836" y="5121"/>
                  <a:pt x="7830" y="5146"/>
                  <a:pt x="7804" y="5152"/>
                </a:cubicBezTo>
                <a:cubicBezTo>
                  <a:pt x="7797" y="5146"/>
                  <a:pt x="7797" y="5127"/>
                  <a:pt x="7778" y="5127"/>
                </a:cubicBezTo>
                <a:cubicBezTo>
                  <a:pt x="7784" y="5140"/>
                  <a:pt x="7758" y="5153"/>
                  <a:pt x="7758" y="5178"/>
                </a:cubicBezTo>
                <a:cubicBezTo>
                  <a:pt x="7751" y="5172"/>
                  <a:pt x="7744" y="5172"/>
                  <a:pt x="7738" y="5172"/>
                </a:cubicBezTo>
                <a:cubicBezTo>
                  <a:pt x="7731" y="5147"/>
                  <a:pt x="7751" y="5178"/>
                  <a:pt x="7751" y="5153"/>
                </a:cubicBezTo>
                <a:cubicBezTo>
                  <a:pt x="7738" y="5140"/>
                  <a:pt x="7706" y="5166"/>
                  <a:pt x="7699" y="5178"/>
                </a:cubicBezTo>
                <a:cubicBezTo>
                  <a:pt x="7687" y="5165"/>
                  <a:pt x="7693" y="5159"/>
                  <a:pt x="7693" y="5133"/>
                </a:cubicBezTo>
                <a:cubicBezTo>
                  <a:pt x="7693" y="5133"/>
                  <a:pt x="7693" y="5140"/>
                  <a:pt x="7693" y="5146"/>
                </a:cubicBezTo>
                <a:cubicBezTo>
                  <a:pt x="7784" y="5140"/>
                  <a:pt x="7803" y="5076"/>
                  <a:pt x="7881" y="5057"/>
                </a:cubicBezTo>
                <a:close/>
                <a:moveTo>
                  <a:pt x="7716" y="5027"/>
                </a:moveTo>
                <a:cubicBezTo>
                  <a:pt x="7719" y="5026"/>
                  <a:pt x="7723" y="5028"/>
                  <a:pt x="7726" y="5031"/>
                </a:cubicBezTo>
                <a:cubicBezTo>
                  <a:pt x="7694" y="5037"/>
                  <a:pt x="7706" y="5063"/>
                  <a:pt x="7700" y="5076"/>
                </a:cubicBezTo>
                <a:cubicBezTo>
                  <a:pt x="7700" y="5069"/>
                  <a:pt x="7693" y="5069"/>
                  <a:pt x="7688" y="5062"/>
                </a:cubicBezTo>
                <a:cubicBezTo>
                  <a:pt x="7681" y="5056"/>
                  <a:pt x="7694" y="5050"/>
                  <a:pt x="7688" y="5043"/>
                </a:cubicBezTo>
                <a:cubicBezTo>
                  <a:pt x="7692" y="5039"/>
                  <a:pt x="7705" y="5027"/>
                  <a:pt x="7716" y="5027"/>
                </a:cubicBezTo>
                <a:close/>
                <a:moveTo>
                  <a:pt x="6014" y="5012"/>
                </a:moveTo>
                <a:cubicBezTo>
                  <a:pt x="5988" y="5018"/>
                  <a:pt x="5956" y="5018"/>
                  <a:pt x="5949" y="5043"/>
                </a:cubicBezTo>
                <a:cubicBezTo>
                  <a:pt x="5982" y="5043"/>
                  <a:pt x="6008" y="5037"/>
                  <a:pt x="6014" y="5012"/>
                </a:cubicBezTo>
                <a:close/>
                <a:moveTo>
                  <a:pt x="6589" y="5003"/>
                </a:moveTo>
                <a:cubicBezTo>
                  <a:pt x="6601" y="5003"/>
                  <a:pt x="6598" y="5017"/>
                  <a:pt x="6609" y="5017"/>
                </a:cubicBezTo>
                <a:cubicBezTo>
                  <a:pt x="6602" y="5031"/>
                  <a:pt x="6589" y="5037"/>
                  <a:pt x="6589" y="5056"/>
                </a:cubicBezTo>
                <a:cubicBezTo>
                  <a:pt x="6563" y="5043"/>
                  <a:pt x="6602" y="5031"/>
                  <a:pt x="6583" y="5005"/>
                </a:cubicBezTo>
                <a:cubicBezTo>
                  <a:pt x="6585" y="5004"/>
                  <a:pt x="6587" y="5004"/>
                  <a:pt x="6589" y="5003"/>
                </a:cubicBezTo>
                <a:close/>
                <a:moveTo>
                  <a:pt x="5337" y="4998"/>
                </a:moveTo>
                <a:cubicBezTo>
                  <a:pt x="5329" y="4998"/>
                  <a:pt x="5319" y="4999"/>
                  <a:pt x="5304" y="4999"/>
                </a:cubicBezTo>
                <a:cubicBezTo>
                  <a:pt x="5298" y="5019"/>
                  <a:pt x="5304" y="5032"/>
                  <a:pt x="5311" y="5044"/>
                </a:cubicBezTo>
                <a:cubicBezTo>
                  <a:pt x="5297" y="5044"/>
                  <a:pt x="5297" y="5057"/>
                  <a:pt x="5291" y="5057"/>
                </a:cubicBezTo>
                <a:cubicBezTo>
                  <a:pt x="5291" y="5044"/>
                  <a:pt x="5284" y="5038"/>
                  <a:pt x="5271" y="5038"/>
                </a:cubicBezTo>
                <a:cubicBezTo>
                  <a:pt x="5265" y="5057"/>
                  <a:pt x="5271" y="5063"/>
                  <a:pt x="5277" y="5069"/>
                </a:cubicBezTo>
                <a:cubicBezTo>
                  <a:pt x="5265" y="5082"/>
                  <a:pt x="5246" y="5082"/>
                  <a:pt x="5226" y="5095"/>
                </a:cubicBezTo>
                <a:cubicBezTo>
                  <a:pt x="5239" y="5121"/>
                  <a:pt x="5220" y="5127"/>
                  <a:pt x="5200" y="5133"/>
                </a:cubicBezTo>
                <a:cubicBezTo>
                  <a:pt x="5200" y="5153"/>
                  <a:pt x="5206" y="5153"/>
                  <a:pt x="5206" y="5172"/>
                </a:cubicBezTo>
                <a:cubicBezTo>
                  <a:pt x="5187" y="5172"/>
                  <a:pt x="5194" y="5191"/>
                  <a:pt x="5174" y="5191"/>
                </a:cubicBezTo>
                <a:cubicBezTo>
                  <a:pt x="5174" y="5185"/>
                  <a:pt x="5168" y="5185"/>
                  <a:pt x="5168" y="5191"/>
                </a:cubicBezTo>
                <a:cubicBezTo>
                  <a:pt x="5180" y="5197"/>
                  <a:pt x="5187" y="5204"/>
                  <a:pt x="5213" y="5204"/>
                </a:cubicBezTo>
                <a:cubicBezTo>
                  <a:pt x="5265" y="5146"/>
                  <a:pt x="5348" y="5127"/>
                  <a:pt x="5388" y="5056"/>
                </a:cubicBezTo>
                <a:cubicBezTo>
                  <a:pt x="5363" y="5056"/>
                  <a:pt x="5363" y="5088"/>
                  <a:pt x="5343" y="5095"/>
                </a:cubicBezTo>
                <a:cubicBezTo>
                  <a:pt x="5350" y="5076"/>
                  <a:pt x="5330" y="5082"/>
                  <a:pt x="5330" y="5069"/>
                </a:cubicBezTo>
                <a:cubicBezTo>
                  <a:pt x="5343" y="5051"/>
                  <a:pt x="5363" y="5037"/>
                  <a:pt x="5369" y="5012"/>
                </a:cubicBezTo>
                <a:cubicBezTo>
                  <a:pt x="5357" y="5000"/>
                  <a:pt x="5350" y="4998"/>
                  <a:pt x="5337" y="4998"/>
                </a:cubicBezTo>
                <a:close/>
                <a:moveTo>
                  <a:pt x="6705" y="4986"/>
                </a:moveTo>
                <a:cubicBezTo>
                  <a:pt x="6711" y="5000"/>
                  <a:pt x="6720" y="5001"/>
                  <a:pt x="6729" y="4995"/>
                </a:cubicBezTo>
                <a:lnTo>
                  <a:pt x="6730" y="4994"/>
                </a:lnTo>
                <a:lnTo>
                  <a:pt x="6729" y="4996"/>
                </a:lnTo>
                <a:cubicBezTo>
                  <a:pt x="6726" y="5003"/>
                  <a:pt x="6726" y="5012"/>
                  <a:pt x="6731" y="5024"/>
                </a:cubicBezTo>
                <a:cubicBezTo>
                  <a:pt x="6719" y="5024"/>
                  <a:pt x="6699" y="5017"/>
                  <a:pt x="6699" y="5036"/>
                </a:cubicBezTo>
                <a:cubicBezTo>
                  <a:pt x="6679" y="5036"/>
                  <a:pt x="6699" y="5005"/>
                  <a:pt x="6679" y="5017"/>
                </a:cubicBezTo>
                <a:cubicBezTo>
                  <a:pt x="6685" y="5005"/>
                  <a:pt x="6685" y="4986"/>
                  <a:pt x="6705" y="4986"/>
                </a:cubicBezTo>
                <a:close/>
                <a:moveTo>
                  <a:pt x="6740" y="4985"/>
                </a:moveTo>
                <a:lnTo>
                  <a:pt x="6739" y="4985"/>
                </a:lnTo>
                <a:cubicBezTo>
                  <a:pt x="6737" y="4988"/>
                  <a:pt x="6735" y="4990"/>
                  <a:pt x="6732" y="4992"/>
                </a:cubicBezTo>
                <a:lnTo>
                  <a:pt x="6730" y="4994"/>
                </a:lnTo>
                <a:lnTo>
                  <a:pt x="6731" y="4992"/>
                </a:lnTo>
                <a:cubicBezTo>
                  <a:pt x="6733" y="4990"/>
                  <a:pt x="6734" y="4988"/>
                  <a:pt x="6737" y="4987"/>
                </a:cubicBezTo>
                <a:lnTo>
                  <a:pt x="6740" y="4985"/>
                </a:lnTo>
                <a:close/>
                <a:moveTo>
                  <a:pt x="7267" y="4967"/>
                </a:moveTo>
                <a:cubicBezTo>
                  <a:pt x="7255" y="4967"/>
                  <a:pt x="7235" y="4967"/>
                  <a:pt x="7235" y="4986"/>
                </a:cubicBezTo>
                <a:cubicBezTo>
                  <a:pt x="7254" y="4986"/>
                  <a:pt x="7267" y="4979"/>
                  <a:pt x="7267" y="4967"/>
                </a:cubicBezTo>
                <a:close/>
                <a:moveTo>
                  <a:pt x="5762" y="4967"/>
                </a:moveTo>
                <a:cubicBezTo>
                  <a:pt x="5743" y="4967"/>
                  <a:pt x="5730" y="4979"/>
                  <a:pt x="5743" y="4992"/>
                </a:cubicBezTo>
                <a:cubicBezTo>
                  <a:pt x="5756" y="4992"/>
                  <a:pt x="5762" y="4986"/>
                  <a:pt x="5762" y="4967"/>
                </a:cubicBezTo>
                <a:close/>
                <a:moveTo>
                  <a:pt x="6776" y="4960"/>
                </a:moveTo>
                <a:cubicBezTo>
                  <a:pt x="6776" y="4966"/>
                  <a:pt x="6770" y="4972"/>
                  <a:pt x="6770" y="4979"/>
                </a:cubicBezTo>
                <a:cubicBezTo>
                  <a:pt x="6758" y="4979"/>
                  <a:pt x="6748" y="4981"/>
                  <a:pt x="6740" y="4985"/>
                </a:cubicBezTo>
                <a:lnTo>
                  <a:pt x="6740" y="4985"/>
                </a:lnTo>
                <a:lnTo>
                  <a:pt x="6742" y="4981"/>
                </a:lnTo>
                <a:cubicBezTo>
                  <a:pt x="6747" y="4974"/>
                  <a:pt x="6750" y="4966"/>
                  <a:pt x="6750" y="4961"/>
                </a:cubicBezTo>
                <a:cubicBezTo>
                  <a:pt x="6770" y="4967"/>
                  <a:pt x="6764" y="4967"/>
                  <a:pt x="6776" y="4960"/>
                </a:cubicBezTo>
                <a:close/>
                <a:moveTo>
                  <a:pt x="5749" y="4948"/>
                </a:moveTo>
                <a:cubicBezTo>
                  <a:pt x="5736" y="4948"/>
                  <a:pt x="5716" y="4948"/>
                  <a:pt x="5716" y="4967"/>
                </a:cubicBezTo>
                <a:cubicBezTo>
                  <a:pt x="5736" y="4967"/>
                  <a:pt x="5743" y="4961"/>
                  <a:pt x="5749" y="4948"/>
                </a:cubicBezTo>
                <a:close/>
                <a:moveTo>
                  <a:pt x="1099" y="4936"/>
                </a:moveTo>
                <a:cubicBezTo>
                  <a:pt x="1113" y="4935"/>
                  <a:pt x="1127" y="4938"/>
                  <a:pt x="1137" y="4942"/>
                </a:cubicBezTo>
                <a:cubicBezTo>
                  <a:pt x="1131" y="4961"/>
                  <a:pt x="1098" y="4961"/>
                  <a:pt x="1066" y="4954"/>
                </a:cubicBezTo>
                <a:cubicBezTo>
                  <a:pt x="1072" y="4942"/>
                  <a:pt x="1085" y="4937"/>
                  <a:pt x="1099" y="4936"/>
                </a:cubicBezTo>
                <a:close/>
                <a:moveTo>
                  <a:pt x="5788" y="4923"/>
                </a:moveTo>
                <a:cubicBezTo>
                  <a:pt x="5788" y="4929"/>
                  <a:pt x="5775" y="4929"/>
                  <a:pt x="5769" y="4929"/>
                </a:cubicBezTo>
                <a:cubicBezTo>
                  <a:pt x="5769" y="4942"/>
                  <a:pt x="5769" y="4954"/>
                  <a:pt x="5781" y="4954"/>
                </a:cubicBezTo>
                <a:cubicBezTo>
                  <a:pt x="5781" y="4935"/>
                  <a:pt x="5807" y="4929"/>
                  <a:pt x="5788" y="4923"/>
                </a:cubicBezTo>
                <a:close/>
                <a:moveTo>
                  <a:pt x="7706" y="4909"/>
                </a:moveTo>
                <a:cubicBezTo>
                  <a:pt x="7693" y="4916"/>
                  <a:pt x="7661" y="4909"/>
                  <a:pt x="7668" y="4934"/>
                </a:cubicBezTo>
                <a:cubicBezTo>
                  <a:pt x="7680" y="4947"/>
                  <a:pt x="7680" y="4928"/>
                  <a:pt x="7700" y="4934"/>
                </a:cubicBezTo>
                <a:cubicBezTo>
                  <a:pt x="7700" y="4922"/>
                  <a:pt x="7706" y="4916"/>
                  <a:pt x="7706" y="4909"/>
                </a:cubicBezTo>
                <a:close/>
                <a:moveTo>
                  <a:pt x="6272" y="4909"/>
                </a:moveTo>
                <a:cubicBezTo>
                  <a:pt x="6253" y="4909"/>
                  <a:pt x="6240" y="4909"/>
                  <a:pt x="6240" y="4922"/>
                </a:cubicBezTo>
                <a:cubicBezTo>
                  <a:pt x="6253" y="4922"/>
                  <a:pt x="6266" y="4928"/>
                  <a:pt x="6272" y="4909"/>
                </a:cubicBezTo>
                <a:close/>
                <a:moveTo>
                  <a:pt x="7079" y="4904"/>
                </a:moveTo>
                <a:cubicBezTo>
                  <a:pt x="7073" y="4923"/>
                  <a:pt x="7073" y="4936"/>
                  <a:pt x="7079" y="4955"/>
                </a:cubicBezTo>
                <a:cubicBezTo>
                  <a:pt x="7061" y="4955"/>
                  <a:pt x="7041" y="4961"/>
                  <a:pt x="7034" y="4974"/>
                </a:cubicBezTo>
                <a:cubicBezTo>
                  <a:pt x="7027" y="4993"/>
                  <a:pt x="7053" y="4980"/>
                  <a:pt x="7047" y="4999"/>
                </a:cubicBezTo>
                <a:cubicBezTo>
                  <a:pt x="7021" y="5006"/>
                  <a:pt x="7015" y="5024"/>
                  <a:pt x="6982" y="5024"/>
                </a:cubicBezTo>
                <a:cubicBezTo>
                  <a:pt x="6976" y="5037"/>
                  <a:pt x="7002" y="5050"/>
                  <a:pt x="6982" y="5050"/>
                </a:cubicBezTo>
                <a:cubicBezTo>
                  <a:pt x="6970" y="5037"/>
                  <a:pt x="6937" y="5043"/>
                  <a:pt x="6931" y="5056"/>
                </a:cubicBezTo>
                <a:cubicBezTo>
                  <a:pt x="6925" y="5088"/>
                  <a:pt x="6951" y="5088"/>
                  <a:pt x="6951" y="5114"/>
                </a:cubicBezTo>
                <a:cubicBezTo>
                  <a:pt x="6951" y="5146"/>
                  <a:pt x="6918" y="5146"/>
                  <a:pt x="6912" y="5173"/>
                </a:cubicBezTo>
                <a:cubicBezTo>
                  <a:pt x="6983" y="5167"/>
                  <a:pt x="7002" y="5103"/>
                  <a:pt x="7028" y="5051"/>
                </a:cubicBezTo>
                <a:cubicBezTo>
                  <a:pt x="7042" y="5058"/>
                  <a:pt x="7042" y="5070"/>
                  <a:pt x="7054" y="5070"/>
                </a:cubicBezTo>
                <a:cubicBezTo>
                  <a:pt x="7119" y="5051"/>
                  <a:pt x="7125" y="4980"/>
                  <a:pt x="7190" y="4955"/>
                </a:cubicBezTo>
                <a:cubicBezTo>
                  <a:pt x="7196" y="4935"/>
                  <a:pt x="7184" y="4923"/>
                  <a:pt x="7184" y="4904"/>
                </a:cubicBezTo>
                <a:cubicBezTo>
                  <a:pt x="7145" y="4910"/>
                  <a:pt x="7158" y="4916"/>
                  <a:pt x="7125" y="4904"/>
                </a:cubicBezTo>
                <a:cubicBezTo>
                  <a:pt x="7125" y="4923"/>
                  <a:pt x="7125" y="4949"/>
                  <a:pt x="7099" y="4949"/>
                </a:cubicBezTo>
                <a:cubicBezTo>
                  <a:pt x="7112" y="4935"/>
                  <a:pt x="7099" y="4923"/>
                  <a:pt x="7099" y="4904"/>
                </a:cubicBezTo>
                <a:cubicBezTo>
                  <a:pt x="7099" y="4904"/>
                  <a:pt x="7099" y="4904"/>
                  <a:pt x="7079" y="4904"/>
                </a:cubicBezTo>
                <a:close/>
                <a:moveTo>
                  <a:pt x="7506" y="4897"/>
                </a:moveTo>
                <a:cubicBezTo>
                  <a:pt x="7467" y="4897"/>
                  <a:pt x="7448" y="4942"/>
                  <a:pt x="7461" y="4967"/>
                </a:cubicBezTo>
                <a:cubicBezTo>
                  <a:pt x="7487" y="4961"/>
                  <a:pt x="7487" y="4922"/>
                  <a:pt x="7506" y="4897"/>
                </a:cubicBezTo>
                <a:close/>
                <a:moveTo>
                  <a:pt x="6873" y="4897"/>
                </a:moveTo>
                <a:cubicBezTo>
                  <a:pt x="6873" y="4897"/>
                  <a:pt x="6873" y="4897"/>
                  <a:pt x="6873" y="4922"/>
                </a:cubicBezTo>
                <a:cubicBezTo>
                  <a:pt x="6886" y="4922"/>
                  <a:pt x="6892" y="4922"/>
                  <a:pt x="6899" y="4916"/>
                </a:cubicBezTo>
                <a:cubicBezTo>
                  <a:pt x="6899" y="4903"/>
                  <a:pt x="6886" y="4897"/>
                  <a:pt x="6873" y="4897"/>
                </a:cubicBezTo>
                <a:close/>
                <a:moveTo>
                  <a:pt x="6059" y="4878"/>
                </a:moveTo>
                <a:cubicBezTo>
                  <a:pt x="6034" y="4884"/>
                  <a:pt x="6027" y="4897"/>
                  <a:pt x="6014" y="4909"/>
                </a:cubicBezTo>
                <a:cubicBezTo>
                  <a:pt x="6033" y="4916"/>
                  <a:pt x="6027" y="4954"/>
                  <a:pt x="6021" y="4967"/>
                </a:cubicBezTo>
                <a:cubicBezTo>
                  <a:pt x="6039" y="4979"/>
                  <a:pt x="6053" y="4954"/>
                  <a:pt x="6059" y="4968"/>
                </a:cubicBezTo>
                <a:cubicBezTo>
                  <a:pt x="6059" y="4987"/>
                  <a:pt x="6027" y="4980"/>
                  <a:pt x="6027" y="4999"/>
                </a:cubicBezTo>
                <a:cubicBezTo>
                  <a:pt x="6033" y="5006"/>
                  <a:pt x="6046" y="5012"/>
                  <a:pt x="6066" y="5012"/>
                </a:cubicBezTo>
                <a:cubicBezTo>
                  <a:pt x="6092" y="4987"/>
                  <a:pt x="6150" y="4993"/>
                  <a:pt x="6156" y="4942"/>
                </a:cubicBezTo>
                <a:cubicBezTo>
                  <a:pt x="6137" y="4923"/>
                  <a:pt x="6111" y="4942"/>
                  <a:pt x="6098" y="4954"/>
                </a:cubicBezTo>
                <a:cubicBezTo>
                  <a:pt x="6092" y="4928"/>
                  <a:pt x="6059" y="4922"/>
                  <a:pt x="6047" y="4903"/>
                </a:cubicBezTo>
                <a:cubicBezTo>
                  <a:pt x="6053" y="4903"/>
                  <a:pt x="6059" y="4897"/>
                  <a:pt x="6059" y="4878"/>
                </a:cubicBezTo>
                <a:close/>
                <a:moveTo>
                  <a:pt x="7294" y="4857"/>
                </a:moveTo>
                <a:cubicBezTo>
                  <a:pt x="7282" y="4856"/>
                  <a:pt x="7262" y="4871"/>
                  <a:pt x="7241" y="4871"/>
                </a:cubicBezTo>
                <a:cubicBezTo>
                  <a:pt x="7235" y="4884"/>
                  <a:pt x="7254" y="4884"/>
                  <a:pt x="7248" y="4897"/>
                </a:cubicBezTo>
                <a:cubicBezTo>
                  <a:pt x="7280" y="4890"/>
                  <a:pt x="7286" y="4884"/>
                  <a:pt x="7306" y="4884"/>
                </a:cubicBezTo>
                <a:cubicBezTo>
                  <a:pt x="7306" y="4865"/>
                  <a:pt x="7302" y="4858"/>
                  <a:pt x="7294" y="4857"/>
                </a:cubicBezTo>
                <a:close/>
                <a:moveTo>
                  <a:pt x="6847" y="4857"/>
                </a:moveTo>
                <a:cubicBezTo>
                  <a:pt x="6782" y="4889"/>
                  <a:pt x="6718" y="4934"/>
                  <a:pt x="6659" y="4979"/>
                </a:cubicBezTo>
                <a:cubicBezTo>
                  <a:pt x="6666" y="5004"/>
                  <a:pt x="6659" y="5036"/>
                  <a:pt x="6679" y="5049"/>
                </a:cubicBezTo>
                <a:cubicBezTo>
                  <a:pt x="6654" y="5049"/>
                  <a:pt x="6666" y="5062"/>
                  <a:pt x="6666" y="5074"/>
                </a:cubicBezTo>
                <a:cubicBezTo>
                  <a:pt x="6647" y="5087"/>
                  <a:pt x="6621" y="5081"/>
                  <a:pt x="6602" y="5093"/>
                </a:cubicBezTo>
                <a:cubicBezTo>
                  <a:pt x="6595" y="5106"/>
                  <a:pt x="6628" y="5112"/>
                  <a:pt x="6608" y="5118"/>
                </a:cubicBezTo>
                <a:cubicBezTo>
                  <a:pt x="6608" y="5118"/>
                  <a:pt x="6608" y="5118"/>
                  <a:pt x="6582" y="5118"/>
                </a:cubicBezTo>
                <a:cubicBezTo>
                  <a:pt x="6589" y="5099"/>
                  <a:pt x="6576" y="5093"/>
                  <a:pt x="6569" y="5087"/>
                </a:cubicBezTo>
                <a:cubicBezTo>
                  <a:pt x="6621" y="5074"/>
                  <a:pt x="6666" y="5023"/>
                  <a:pt x="6628" y="4972"/>
                </a:cubicBezTo>
                <a:cubicBezTo>
                  <a:pt x="6641" y="4972"/>
                  <a:pt x="6641" y="4984"/>
                  <a:pt x="6654" y="4978"/>
                </a:cubicBezTo>
                <a:cubicBezTo>
                  <a:pt x="6648" y="4952"/>
                  <a:pt x="6654" y="4958"/>
                  <a:pt x="6654" y="4933"/>
                </a:cubicBezTo>
                <a:cubicBezTo>
                  <a:pt x="6641" y="4933"/>
                  <a:pt x="6628" y="4933"/>
                  <a:pt x="6621" y="4927"/>
                </a:cubicBezTo>
                <a:cubicBezTo>
                  <a:pt x="6595" y="4940"/>
                  <a:pt x="6602" y="4984"/>
                  <a:pt x="6563" y="4972"/>
                </a:cubicBezTo>
                <a:cubicBezTo>
                  <a:pt x="6557" y="4998"/>
                  <a:pt x="6550" y="5023"/>
                  <a:pt x="6524" y="5029"/>
                </a:cubicBezTo>
                <a:cubicBezTo>
                  <a:pt x="6524" y="5029"/>
                  <a:pt x="6524" y="5029"/>
                  <a:pt x="6524" y="5010"/>
                </a:cubicBezTo>
                <a:cubicBezTo>
                  <a:pt x="6505" y="5004"/>
                  <a:pt x="6498" y="5017"/>
                  <a:pt x="6486" y="5023"/>
                </a:cubicBezTo>
                <a:cubicBezTo>
                  <a:pt x="6479" y="5043"/>
                  <a:pt x="6486" y="5055"/>
                  <a:pt x="6492" y="5068"/>
                </a:cubicBezTo>
                <a:cubicBezTo>
                  <a:pt x="6441" y="5081"/>
                  <a:pt x="6447" y="5138"/>
                  <a:pt x="6415" y="5163"/>
                </a:cubicBezTo>
                <a:cubicBezTo>
                  <a:pt x="6382" y="5131"/>
                  <a:pt x="6370" y="5189"/>
                  <a:pt x="6350" y="5195"/>
                </a:cubicBezTo>
                <a:cubicBezTo>
                  <a:pt x="6331" y="5189"/>
                  <a:pt x="6331" y="5182"/>
                  <a:pt x="6311" y="5189"/>
                </a:cubicBezTo>
                <a:cubicBezTo>
                  <a:pt x="6317" y="5208"/>
                  <a:pt x="6305" y="5221"/>
                  <a:pt x="6305" y="5240"/>
                </a:cubicBezTo>
                <a:cubicBezTo>
                  <a:pt x="6325" y="5234"/>
                  <a:pt x="6325" y="5240"/>
                  <a:pt x="6331" y="5259"/>
                </a:cubicBezTo>
                <a:cubicBezTo>
                  <a:pt x="6318" y="5259"/>
                  <a:pt x="6292" y="5272"/>
                  <a:pt x="6286" y="5265"/>
                </a:cubicBezTo>
                <a:cubicBezTo>
                  <a:pt x="6292" y="5246"/>
                  <a:pt x="6298" y="5239"/>
                  <a:pt x="6298" y="5220"/>
                </a:cubicBezTo>
                <a:cubicBezTo>
                  <a:pt x="6260" y="5214"/>
                  <a:pt x="6305" y="5169"/>
                  <a:pt x="6298" y="5150"/>
                </a:cubicBezTo>
                <a:cubicBezTo>
                  <a:pt x="6305" y="5150"/>
                  <a:pt x="6305" y="5163"/>
                  <a:pt x="6311" y="5163"/>
                </a:cubicBezTo>
                <a:cubicBezTo>
                  <a:pt x="6317" y="5144"/>
                  <a:pt x="6343" y="5118"/>
                  <a:pt x="6337" y="5105"/>
                </a:cubicBezTo>
                <a:cubicBezTo>
                  <a:pt x="6318" y="5105"/>
                  <a:pt x="6312" y="5124"/>
                  <a:pt x="6292" y="5111"/>
                </a:cubicBezTo>
                <a:cubicBezTo>
                  <a:pt x="6298" y="5137"/>
                  <a:pt x="6285" y="5118"/>
                  <a:pt x="6272" y="5124"/>
                </a:cubicBezTo>
                <a:cubicBezTo>
                  <a:pt x="6266" y="5118"/>
                  <a:pt x="6291" y="5111"/>
                  <a:pt x="6279" y="5105"/>
                </a:cubicBezTo>
                <a:cubicBezTo>
                  <a:pt x="6272" y="5118"/>
                  <a:pt x="6259" y="5118"/>
                  <a:pt x="6246" y="5124"/>
                </a:cubicBezTo>
                <a:cubicBezTo>
                  <a:pt x="6260" y="5175"/>
                  <a:pt x="6201" y="5182"/>
                  <a:pt x="6169" y="5182"/>
                </a:cubicBezTo>
                <a:cubicBezTo>
                  <a:pt x="6169" y="5201"/>
                  <a:pt x="6182" y="5214"/>
                  <a:pt x="6195" y="5220"/>
                </a:cubicBezTo>
                <a:cubicBezTo>
                  <a:pt x="6163" y="5239"/>
                  <a:pt x="6156" y="5284"/>
                  <a:pt x="6124" y="5297"/>
                </a:cubicBezTo>
                <a:cubicBezTo>
                  <a:pt x="6124" y="5323"/>
                  <a:pt x="6130" y="5329"/>
                  <a:pt x="6118" y="5342"/>
                </a:cubicBezTo>
                <a:cubicBezTo>
                  <a:pt x="6118" y="5310"/>
                  <a:pt x="6111" y="5303"/>
                  <a:pt x="6085" y="5291"/>
                </a:cubicBezTo>
                <a:cubicBezTo>
                  <a:pt x="6111" y="5258"/>
                  <a:pt x="6201" y="5201"/>
                  <a:pt x="6130" y="5169"/>
                </a:cubicBezTo>
                <a:cubicBezTo>
                  <a:pt x="6104" y="5182"/>
                  <a:pt x="6124" y="5214"/>
                  <a:pt x="6104" y="5220"/>
                </a:cubicBezTo>
                <a:cubicBezTo>
                  <a:pt x="6111" y="5201"/>
                  <a:pt x="6085" y="5214"/>
                  <a:pt x="6092" y="5195"/>
                </a:cubicBezTo>
                <a:cubicBezTo>
                  <a:pt x="6034" y="5214"/>
                  <a:pt x="5982" y="5246"/>
                  <a:pt x="5937" y="5291"/>
                </a:cubicBezTo>
                <a:cubicBezTo>
                  <a:pt x="5944" y="5291"/>
                  <a:pt x="5957" y="5284"/>
                  <a:pt x="5957" y="5291"/>
                </a:cubicBezTo>
                <a:cubicBezTo>
                  <a:pt x="5950" y="5310"/>
                  <a:pt x="5924" y="5342"/>
                  <a:pt x="5918" y="5336"/>
                </a:cubicBezTo>
                <a:cubicBezTo>
                  <a:pt x="5912" y="5329"/>
                  <a:pt x="5937" y="5323"/>
                  <a:pt x="5924" y="5317"/>
                </a:cubicBezTo>
                <a:cubicBezTo>
                  <a:pt x="5892" y="5329"/>
                  <a:pt x="5885" y="5362"/>
                  <a:pt x="5853" y="5374"/>
                </a:cubicBezTo>
                <a:cubicBezTo>
                  <a:pt x="5867" y="5407"/>
                  <a:pt x="5834" y="5413"/>
                  <a:pt x="5847" y="5438"/>
                </a:cubicBezTo>
                <a:cubicBezTo>
                  <a:pt x="5847" y="5432"/>
                  <a:pt x="5853" y="5426"/>
                  <a:pt x="5859" y="5426"/>
                </a:cubicBezTo>
                <a:cubicBezTo>
                  <a:pt x="5866" y="5445"/>
                  <a:pt x="5852" y="5477"/>
                  <a:pt x="5872" y="5477"/>
                </a:cubicBezTo>
                <a:cubicBezTo>
                  <a:pt x="5891" y="5463"/>
                  <a:pt x="5891" y="5457"/>
                  <a:pt x="5878" y="5432"/>
                </a:cubicBezTo>
                <a:cubicBezTo>
                  <a:pt x="5904" y="5432"/>
                  <a:pt x="5911" y="5412"/>
                  <a:pt x="5917" y="5393"/>
                </a:cubicBezTo>
                <a:cubicBezTo>
                  <a:pt x="5898" y="5381"/>
                  <a:pt x="5878" y="5400"/>
                  <a:pt x="5872" y="5387"/>
                </a:cubicBezTo>
                <a:cubicBezTo>
                  <a:pt x="5885" y="5393"/>
                  <a:pt x="5879" y="5374"/>
                  <a:pt x="5892" y="5374"/>
                </a:cubicBezTo>
                <a:cubicBezTo>
                  <a:pt x="5898" y="5374"/>
                  <a:pt x="5905" y="5381"/>
                  <a:pt x="5918" y="5381"/>
                </a:cubicBezTo>
                <a:cubicBezTo>
                  <a:pt x="5924" y="5355"/>
                  <a:pt x="5924" y="5323"/>
                  <a:pt x="5957" y="5323"/>
                </a:cubicBezTo>
                <a:cubicBezTo>
                  <a:pt x="5957" y="5343"/>
                  <a:pt x="5957" y="5355"/>
                  <a:pt x="5963" y="5368"/>
                </a:cubicBezTo>
                <a:cubicBezTo>
                  <a:pt x="5995" y="5368"/>
                  <a:pt x="6002" y="5342"/>
                  <a:pt x="6021" y="5329"/>
                </a:cubicBezTo>
                <a:cubicBezTo>
                  <a:pt x="6028" y="5355"/>
                  <a:pt x="6054" y="5393"/>
                  <a:pt x="6021" y="5406"/>
                </a:cubicBezTo>
                <a:cubicBezTo>
                  <a:pt x="6060" y="5406"/>
                  <a:pt x="6053" y="5367"/>
                  <a:pt x="6073" y="5361"/>
                </a:cubicBezTo>
                <a:cubicBezTo>
                  <a:pt x="6079" y="5373"/>
                  <a:pt x="6085" y="5380"/>
                  <a:pt x="6105" y="5380"/>
                </a:cubicBezTo>
                <a:cubicBezTo>
                  <a:pt x="6124" y="5366"/>
                  <a:pt x="6124" y="5341"/>
                  <a:pt x="6144" y="5335"/>
                </a:cubicBezTo>
                <a:cubicBezTo>
                  <a:pt x="6150" y="5335"/>
                  <a:pt x="6137" y="5347"/>
                  <a:pt x="6137" y="5354"/>
                </a:cubicBezTo>
                <a:cubicBezTo>
                  <a:pt x="6176" y="5366"/>
                  <a:pt x="6241" y="5296"/>
                  <a:pt x="6253" y="5277"/>
                </a:cubicBezTo>
                <a:cubicBezTo>
                  <a:pt x="6253" y="5283"/>
                  <a:pt x="6260" y="5290"/>
                  <a:pt x="6253" y="5302"/>
                </a:cubicBezTo>
                <a:cubicBezTo>
                  <a:pt x="6267" y="5315"/>
                  <a:pt x="6267" y="5277"/>
                  <a:pt x="6273" y="5296"/>
                </a:cubicBezTo>
                <a:cubicBezTo>
                  <a:pt x="6260" y="5322"/>
                  <a:pt x="6241" y="5360"/>
                  <a:pt x="6208" y="5347"/>
                </a:cubicBezTo>
                <a:cubicBezTo>
                  <a:pt x="6202" y="5347"/>
                  <a:pt x="6215" y="5373"/>
                  <a:pt x="6202" y="5379"/>
                </a:cubicBezTo>
                <a:cubicBezTo>
                  <a:pt x="6189" y="5373"/>
                  <a:pt x="6195" y="5360"/>
                  <a:pt x="6182" y="5366"/>
                </a:cubicBezTo>
                <a:cubicBezTo>
                  <a:pt x="6170" y="5379"/>
                  <a:pt x="6163" y="5399"/>
                  <a:pt x="6150" y="5418"/>
                </a:cubicBezTo>
                <a:cubicBezTo>
                  <a:pt x="6150" y="5418"/>
                  <a:pt x="6150" y="5418"/>
                  <a:pt x="6085" y="5418"/>
                </a:cubicBezTo>
                <a:cubicBezTo>
                  <a:pt x="6066" y="5507"/>
                  <a:pt x="5962" y="5513"/>
                  <a:pt x="5917" y="5577"/>
                </a:cubicBezTo>
                <a:cubicBezTo>
                  <a:pt x="5904" y="5571"/>
                  <a:pt x="5924" y="5558"/>
                  <a:pt x="5904" y="5558"/>
                </a:cubicBezTo>
                <a:cubicBezTo>
                  <a:pt x="5866" y="5629"/>
                  <a:pt x="5743" y="5610"/>
                  <a:pt x="5730" y="5705"/>
                </a:cubicBezTo>
                <a:cubicBezTo>
                  <a:pt x="5750" y="5744"/>
                  <a:pt x="5788" y="5731"/>
                  <a:pt x="5827" y="5744"/>
                </a:cubicBezTo>
                <a:cubicBezTo>
                  <a:pt x="5866" y="5731"/>
                  <a:pt x="5872" y="5687"/>
                  <a:pt x="5892" y="5648"/>
                </a:cubicBezTo>
                <a:cubicBezTo>
                  <a:pt x="5917" y="5655"/>
                  <a:pt x="5911" y="5661"/>
                  <a:pt x="5937" y="5655"/>
                </a:cubicBezTo>
                <a:cubicBezTo>
                  <a:pt x="5968" y="5616"/>
                  <a:pt x="5923" y="5565"/>
                  <a:pt x="5988" y="5546"/>
                </a:cubicBezTo>
                <a:cubicBezTo>
                  <a:pt x="5988" y="5558"/>
                  <a:pt x="5988" y="5571"/>
                  <a:pt x="6001" y="5577"/>
                </a:cubicBezTo>
                <a:cubicBezTo>
                  <a:pt x="6033" y="5533"/>
                  <a:pt x="6046" y="5482"/>
                  <a:pt x="6111" y="5488"/>
                </a:cubicBezTo>
                <a:cubicBezTo>
                  <a:pt x="6118" y="5495"/>
                  <a:pt x="6111" y="5520"/>
                  <a:pt x="6098" y="5527"/>
                </a:cubicBezTo>
                <a:cubicBezTo>
                  <a:pt x="6084" y="5514"/>
                  <a:pt x="6092" y="5527"/>
                  <a:pt x="6072" y="5527"/>
                </a:cubicBezTo>
                <a:cubicBezTo>
                  <a:pt x="6059" y="5546"/>
                  <a:pt x="6046" y="5572"/>
                  <a:pt x="6039" y="5597"/>
                </a:cubicBezTo>
                <a:cubicBezTo>
                  <a:pt x="6066" y="5603"/>
                  <a:pt x="6072" y="5597"/>
                  <a:pt x="6098" y="5597"/>
                </a:cubicBezTo>
                <a:cubicBezTo>
                  <a:pt x="6092" y="5565"/>
                  <a:pt x="6130" y="5571"/>
                  <a:pt x="6137" y="5552"/>
                </a:cubicBezTo>
                <a:cubicBezTo>
                  <a:pt x="6144" y="5520"/>
                  <a:pt x="6137" y="5501"/>
                  <a:pt x="6124" y="5488"/>
                </a:cubicBezTo>
                <a:cubicBezTo>
                  <a:pt x="6150" y="5501"/>
                  <a:pt x="6137" y="5463"/>
                  <a:pt x="6156" y="5463"/>
                </a:cubicBezTo>
                <a:cubicBezTo>
                  <a:pt x="6144" y="5494"/>
                  <a:pt x="6182" y="5469"/>
                  <a:pt x="6189" y="5494"/>
                </a:cubicBezTo>
                <a:cubicBezTo>
                  <a:pt x="6189" y="5482"/>
                  <a:pt x="6189" y="5475"/>
                  <a:pt x="6201" y="5469"/>
                </a:cubicBezTo>
                <a:cubicBezTo>
                  <a:pt x="6208" y="5475"/>
                  <a:pt x="6208" y="5482"/>
                  <a:pt x="6208" y="5488"/>
                </a:cubicBezTo>
                <a:cubicBezTo>
                  <a:pt x="6233" y="5494"/>
                  <a:pt x="6227" y="5463"/>
                  <a:pt x="6253" y="5469"/>
                </a:cubicBezTo>
                <a:cubicBezTo>
                  <a:pt x="6253" y="5469"/>
                  <a:pt x="6253" y="5469"/>
                  <a:pt x="6253" y="5494"/>
                </a:cubicBezTo>
                <a:cubicBezTo>
                  <a:pt x="6291" y="5482"/>
                  <a:pt x="6324" y="5443"/>
                  <a:pt x="6350" y="5443"/>
                </a:cubicBezTo>
                <a:cubicBezTo>
                  <a:pt x="6350" y="5456"/>
                  <a:pt x="6331" y="5443"/>
                  <a:pt x="6337" y="5462"/>
                </a:cubicBezTo>
                <a:cubicBezTo>
                  <a:pt x="6331" y="5481"/>
                  <a:pt x="6343" y="5475"/>
                  <a:pt x="6343" y="5493"/>
                </a:cubicBezTo>
                <a:cubicBezTo>
                  <a:pt x="6369" y="5500"/>
                  <a:pt x="6369" y="5475"/>
                  <a:pt x="6388" y="5468"/>
                </a:cubicBezTo>
                <a:cubicBezTo>
                  <a:pt x="6388" y="5487"/>
                  <a:pt x="6388" y="5493"/>
                  <a:pt x="6395" y="5500"/>
                </a:cubicBezTo>
                <a:cubicBezTo>
                  <a:pt x="6452" y="5487"/>
                  <a:pt x="6491" y="5398"/>
                  <a:pt x="6550" y="5423"/>
                </a:cubicBezTo>
                <a:cubicBezTo>
                  <a:pt x="6530" y="5436"/>
                  <a:pt x="6556" y="5436"/>
                  <a:pt x="6556" y="5455"/>
                </a:cubicBezTo>
                <a:cubicBezTo>
                  <a:pt x="6536" y="5455"/>
                  <a:pt x="6542" y="5467"/>
                  <a:pt x="6530" y="5474"/>
                </a:cubicBezTo>
                <a:cubicBezTo>
                  <a:pt x="6511" y="5480"/>
                  <a:pt x="6504" y="5467"/>
                  <a:pt x="6491" y="5467"/>
                </a:cubicBezTo>
                <a:cubicBezTo>
                  <a:pt x="6484" y="5493"/>
                  <a:pt x="6497" y="5506"/>
                  <a:pt x="6504" y="5519"/>
                </a:cubicBezTo>
                <a:cubicBezTo>
                  <a:pt x="6530" y="5525"/>
                  <a:pt x="6523" y="5500"/>
                  <a:pt x="6542" y="5506"/>
                </a:cubicBezTo>
                <a:cubicBezTo>
                  <a:pt x="6536" y="5512"/>
                  <a:pt x="6536" y="5519"/>
                  <a:pt x="6536" y="5538"/>
                </a:cubicBezTo>
                <a:cubicBezTo>
                  <a:pt x="6484" y="5531"/>
                  <a:pt x="6504" y="5576"/>
                  <a:pt x="6510" y="5608"/>
                </a:cubicBezTo>
                <a:cubicBezTo>
                  <a:pt x="6587" y="5589"/>
                  <a:pt x="6523" y="5467"/>
                  <a:pt x="6594" y="5474"/>
                </a:cubicBezTo>
                <a:cubicBezTo>
                  <a:pt x="6600" y="5455"/>
                  <a:pt x="6606" y="5422"/>
                  <a:pt x="6633" y="5403"/>
                </a:cubicBezTo>
                <a:cubicBezTo>
                  <a:pt x="6594" y="5397"/>
                  <a:pt x="6594" y="5422"/>
                  <a:pt x="6574" y="5429"/>
                </a:cubicBezTo>
                <a:cubicBezTo>
                  <a:pt x="6580" y="5410"/>
                  <a:pt x="6568" y="5377"/>
                  <a:pt x="6580" y="5371"/>
                </a:cubicBezTo>
                <a:cubicBezTo>
                  <a:pt x="6587" y="5384"/>
                  <a:pt x="6606" y="5384"/>
                  <a:pt x="6625" y="5390"/>
                </a:cubicBezTo>
                <a:cubicBezTo>
                  <a:pt x="6625" y="5370"/>
                  <a:pt x="6645" y="5358"/>
                  <a:pt x="6651" y="5339"/>
                </a:cubicBezTo>
                <a:cubicBezTo>
                  <a:pt x="6638" y="5339"/>
                  <a:pt x="6625" y="5339"/>
                  <a:pt x="6625" y="5326"/>
                </a:cubicBezTo>
                <a:cubicBezTo>
                  <a:pt x="6632" y="5319"/>
                  <a:pt x="6612" y="5287"/>
                  <a:pt x="6638" y="5287"/>
                </a:cubicBezTo>
                <a:cubicBezTo>
                  <a:pt x="6651" y="5313"/>
                  <a:pt x="6645" y="5320"/>
                  <a:pt x="6658" y="5339"/>
                </a:cubicBezTo>
                <a:cubicBezTo>
                  <a:pt x="6682" y="5339"/>
                  <a:pt x="6712" y="5316"/>
                  <a:pt x="6721" y="5297"/>
                </a:cubicBezTo>
                <a:lnTo>
                  <a:pt x="6722" y="5296"/>
                </a:lnTo>
                <a:lnTo>
                  <a:pt x="6722" y="5296"/>
                </a:lnTo>
                <a:cubicBezTo>
                  <a:pt x="6723" y="5295"/>
                  <a:pt x="6723" y="5294"/>
                  <a:pt x="6723" y="5294"/>
                </a:cubicBezTo>
                <a:lnTo>
                  <a:pt x="6722" y="5296"/>
                </a:lnTo>
                <a:lnTo>
                  <a:pt x="6721" y="5296"/>
                </a:lnTo>
                <a:cubicBezTo>
                  <a:pt x="6720" y="5297"/>
                  <a:pt x="6719" y="5296"/>
                  <a:pt x="6716" y="5294"/>
                </a:cubicBezTo>
                <a:cubicBezTo>
                  <a:pt x="6697" y="5287"/>
                  <a:pt x="6697" y="5287"/>
                  <a:pt x="6671" y="5287"/>
                </a:cubicBezTo>
                <a:cubicBezTo>
                  <a:pt x="6671" y="5268"/>
                  <a:pt x="6659" y="5261"/>
                  <a:pt x="6671" y="5242"/>
                </a:cubicBezTo>
                <a:cubicBezTo>
                  <a:pt x="6659" y="5242"/>
                  <a:pt x="6645" y="5230"/>
                  <a:pt x="6633" y="5223"/>
                </a:cubicBezTo>
                <a:cubicBezTo>
                  <a:pt x="6659" y="5197"/>
                  <a:pt x="6697" y="5185"/>
                  <a:pt x="6742" y="5178"/>
                </a:cubicBezTo>
                <a:cubicBezTo>
                  <a:pt x="6749" y="5185"/>
                  <a:pt x="6742" y="5204"/>
                  <a:pt x="6762" y="5204"/>
                </a:cubicBezTo>
                <a:cubicBezTo>
                  <a:pt x="6762" y="5197"/>
                  <a:pt x="6781" y="5191"/>
                  <a:pt x="6775" y="5210"/>
                </a:cubicBezTo>
                <a:cubicBezTo>
                  <a:pt x="6807" y="5204"/>
                  <a:pt x="6807" y="5165"/>
                  <a:pt x="6833" y="5146"/>
                </a:cubicBezTo>
                <a:cubicBezTo>
                  <a:pt x="6788" y="5146"/>
                  <a:pt x="6794" y="5088"/>
                  <a:pt x="6762" y="5082"/>
                </a:cubicBezTo>
                <a:cubicBezTo>
                  <a:pt x="6691" y="5108"/>
                  <a:pt x="6645" y="5166"/>
                  <a:pt x="6561" y="5185"/>
                </a:cubicBezTo>
                <a:cubicBezTo>
                  <a:pt x="6549" y="5229"/>
                  <a:pt x="6516" y="5249"/>
                  <a:pt x="6484" y="5280"/>
                </a:cubicBezTo>
                <a:cubicBezTo>
                  <a:pt x="6465" y="5254"/>
                  <a:pt x="6459" y="5248"/>
                  <a:pt x="6433" y="5242"/>
                </a:cubicBezTo>
                <a:cubicBezTo>
                  <a:pt x="6446" y="5229"/>
                  <a:pt x="6439" y="5216"/>
                  <a:pt x="6426" y="5210"/>
                </a:cubicBezTo>
                <a:cubicBezTo>
                  <a:pt x="6439" y="5185"/>
                  <a:pt x="6484" y="5178"/>
                  <a:pt x="6471" y="5140"/>
                </a:cubicBezTo>
                <a:cubicBezTo>
                  <a:pt x="6497" y="5140"/>
                  <a:pt x="6497" y="5121"/>
                  <a:pt x="6523" y="5121"/>
                </a:cubicBezTo>
                <a:cubicBezTo>
                  <a:pt x="6510" y="5127"/>
                  <a:pt x="6523" y="5146"/>
                  <a:pt x="6542" y="5146"/>
                </a:cubicBezTo>
                <a:cubicBezTo>
                  <a:pt x="6556" y="5126"/>
                  <a:pt x="6530" y="5101"/>
                  <a:pt x="6562" y="5095"/>
                </a:cubicBezTo>
                <a:cubicBezTo>
                  <a:pt x="6562" y="5121"/>
                  <a:pt x="6569" y="5121"/>
                  <a:pt x="6556" y="5140"/>
                </a:cubicBezTo>
                <a:cubicBezTo>
                  <a:pt x="6614" y="5133"/>
                  <a:pt x="6640" y="5088"/>
                  <a:pt x="6704" y="5088"/>
                </a:cubicBezTo>
                <a:cubicBezTo>
                  <a:pt x="6718" y="5076"/>
                  <a:pt x="6718" y="5050"/>
                  <a:pt x="6724" y="5037"/>
                </a:cubicBezTo>
                <a:cubicBezTo>
                  <a:pt x="6802" y="5076"/>
                  <a:pt x="6809" y="4979"/>
                  <a:pt x="6865" y="4959"/>
                </a:cubicBezTo>
                <a:cubicBezTo>
                  <a:pt x="6859" y="4953"/>
                  <a:pt x="6865" y="4953"/>
                  <a:pt x="6865" y="4946"/>
                </a:cubicBezTo>
                <a:cubicBezTo>
                  <a:pt x="6847" y="4927"/>
                  <a:pt x="6801" y="4978"/>
                  <a:pt x="6788" y="4953"/>
                </a:cubicBezTo>
                <a:cubicBezTo>
                  <a:pt x="6814" y="4934"/>
                  <a:pt x="6820" y="4889"/>
                  <a:pt x="6853" y="4882"/>
                </a:cubicBezTo>
                <a:cubicBezTo>
                  <a:pt x="6859" y="4870"/>
                  <a:pt x="6847" y="4870"/>
                  <a:pt x="6847" y="4857"/>
                </a:cubicBezTo>
                <a:close/>
                <a:moveTo>
                  <a:pt x="7052" y="4857"/>
                </a:moveTo>
                <a:cubicBezTo>
                  <a:pt x="7055" y="4858"/>
                  <a:pt x="7056" y="4865"/>
                  <a:pt x="7061" y="4865"/>
                </a:cubicBezTo>
                <a:cubicBezTo>
                  <a:pt x="7067" y="4884"/>
                  <a:pt x="7041" y="4878"/>
                  <a:pt x="7041" y="4890"/>
                </a:cubicBezTo>
                <a:cubicBezTo>
                  <a:pt x="7022" y="4884"/>
                  <a:pt x="7041" y="4865"/>
                  <a:pt x="7048" y="4859"/>
                </a:cubicBezTo>
                <a:cubicBezTo>
                  <a:pt x="7049" y="4857"/>
                  <a:pt x="7051" y="4857"/>
                  <a:pt x="7052" y="4857"/>
                </a:cubicBezTo>
                <a:close/>
                <a:moveTo>
                  <a:pt x="6861" y="4839"/>
                </a:moveTo>
                <a:cubicBezTo>
                  <a:pt x="6854" y="4845"/>
                  <a:pt x="6854" y="4870"/>
                  <a:pt x="6873" y="4870"/>
                </a:cubicBezTo>
                <a:cubicBezTo>
                  <a:pt x="6873" y="4858"/>
                  <a:pt x="6880" y="4852"/>
                  <a:pt x="6880" y="4845"/>
                </a:cubicBezTo>
                <a:cubicBezTo>
                  <a:pt x="6873" y="4845"/>
                  <a:pt x="6873" y="4839"/>
                  <a:pt x="6861" y="4839"/>
                </a:cubicBezTo>
                <a:close/>
                <a:moveTo>
                  <a:pt x="6741" y="4832"/>
                </a:moveTo>
                <a:cubicBezTo>
                  <a:pt x="6720" y="4834"/>
                  <a:pt x="6705" y="4859"/>
                  <a:pt x="6705" y="4865"/>
                </a:cubicBezTo>
                <a:cubicBezTo>
                  <a:pt x="6705" y="4858"/>
                  <a:pt x="6716" y="4858"/>
                  <a:pt x="6712" y="4870"/>
                </a:cubicBezTo>
                <a:lnTo>
                  <a:pt x="6712" y="4872"/>
                </a:lnTo>
                <a:lnTo>
                  <a:pt x="6711" y="4872"/>
                </a:lnTo>
                <a:lnTo>
                  <a:pt x="6709" y="4870"/>
                </a:lnTo>
                <a:cubicBezTo>
                  <a:pt x="6704" y="4867"/>
                  <a:pt x="6700" y="4872"/>
                  <a:pt x="6705" y="4872"/>
                </a:cubicBezTo>
                <a:cubicBezTo>
                  <a:pt x="6707" y="4872"/>
                  <a:pt x="6709" y="4872"/>
                  <a:pt x="6711" y="4872"/>
                </a:cubicBezTo>
                <a:lnTo>
                  <a:pt x="6711" y="4872"/>
                </a:lnTo>
                <a:lnTo>
                  <a:pt x="6711" y="4872"/>
                </a:lnTo>
                <a:lnTo>
                  <a:pt x="6712" y="4872"/>
                </a:lnTo>
                <a:lnTo>
                  <a:pt x="6716" y="4871"/>
                </a:lnTo>
                <a:cubicBezTo>
                  <a:pt x="6740" y="4867"/>
                  <a:pt x="6750" y="4850"/>
                  <a:pt x="6750" y="4833"/>
                </a:cubicBezTo>
                <a:cubicBezTo>
                  <a:pt x="6747" y="4832"/>
                  <a:pt x="6744" y="4832"/>
                  <a:pt x="6741" y="4832"/>
                </a:cubicBezTo>
                <a:close/>
                <a:moveTo>
                  <a:pt x="1267" y="4826"/>
                </a:moveTo>
                <a:cubicBezTo>
                  <a:pt x="1248" y="4833"/>
                  <a:pt x="1228" y="4833"/>
                  <a:pt x="1228" y="4858"/>
                </a:cubicBezTo>
                <a:cubicBezTo>
                  <a:pt x="1247" y="4852"/>
                  <a:pt x="1267" y="4852"/>
                  <a:pt x="1267" y="4826"/>
                </a:cubicBezTo>
                <a:close/>
                <a:moveTo>
                  <a:pt x="7267" y="4820"/>
                </a:moveTo>
                <a:cubicBezTo>
                  <a:pt x="7248" y="4820"/>
                  <a:pt x="7228" y="4839"/>
                  <a:pt x="7241" y="4859"/>
                </a:cubicBezTo>
                <a:cubicBezTo>
                  <a:pt x="7267" y="4859"/>
                  <a:pt x="7261" y="4839"/>
                  <a:pt x="7267" y="4820"/>
                </a:cubicBezTo>
                <a:close/>
                <a:moveTo>
                  <a:pt x="5988" y="4820"/>
                </a:moveTo>
                <a:cubicBezTo>
                  <a:pt x="5981" y="4833"/>
                  <a:pt x="5962" y="4826"/>
                  <a:pt x="5968" y="4845"/>
                </a:cubicBezTo>
                <a:cubicBezTo>
                  <a:pt x="5968" y="4845"/>
                  <a:pt x="5968" y="4845"/>
                  <a:pt x="5994" y="4845"/>
                </a:cubicBezTo>
                <a:cubicBezTo>
                  <a:pt x="5988" y="4833"/>
                  <a:pt x="5994" y="4820"/>
                  <a:pt x="5988" y="4820"/>
                </a:cubicBezTo>
                <a:close/>
                <a:moveTo>
                  <a:pt x="5694" y="4816"/>
                </a:moveTo>
                <a:cubicBezTo>
                  <a:pt x="5656" y="4817"/>
                  <a:pt x="5614" y="4851"/>
                  <a:pt x="5601" y="4883"/>
                </a:cubicBezTo>
                <a:cubicBezTo>
                  <a:pt x="5595" y="4916"/>
                  <a:pt x="5634" y="4934"/>
                  <a:pt x="5608" y="4947"/>
                </a:cubicBezTo>
                <a:cubicBezTo>
                  <a:pt x="5589" y="4941"/>
                  <a:pt x="5589" y="4916"/>
                  <a:pt x="5569" y="4916"/>
                </a:cubicBezTo>
                <a:cubicBezTo>
                  <a:pt x="5549" y="4942"/>
                  <a:pt x="5575" y="4954"/>
                  <a:pt x="5581" y="4967"/>
                </a:cubicBezTo>
                <a:cubicBezTo>
                  <a:pt x="5600" y="4973"/>
                  <a:pt x="5600" y="4954"/>
                  <a:pt x="5620" y="4954"/>
                </a:cubicBezTo>
                <a:cubicBezTo>
                  <a:pt x="5614" y="4974"/>
                  <a:pt x="5601" y="4987"/>
                  <a:pt x="5614" y="4999"/>
                </a:cubicBezTo>
                <a:cubicBezTo>
                  <a:pt x="5665" y="4967"/>
                  <a:pt x="5698" y="4922"/>
                  <a:pt x="5737" y="4883"/>
                </a:cubicBezTo>
                <a:cubicBezTo>
                  <a:pt x="5711" y="4877"/>
                  <a:pt x="5750" y="4870"/>
                  <a:pt x="5750" y="4858"/>
                </a:cubicBezTo>
                <a:cubicBezTo>
                  <a:pt x="5738" y="4826"/>
                  <a:pt x="5716" y="4815"/>
                  <a:pt x="5694" y="4816"/>
                </a:cubicBezTo>
                <a:close/>
                <a:moveTo>
                  <a:pt x="7680" y="4807"/>
                </a:moveTo>
                <a:cubicBezTo>
                  <a:pt x="7668" y="4839"/>
                  <a:pt x="7706" y="4839"/>
                  <a:pt x="7700" y="4807"/>
                </a:cubicBezTo>
                <a:cubicBezTo>
                  <a:pt x="7700" y="4807"/>
                  <a:pt x="7700" y="4807"/>
                  <a:pt x="7680" y="4807"/>
                </a:cubicBezTo>
                <a:close/>
                <a:moveTo>
                  <a:pt x="7229" y="4775"/>
                </a:moveTo>
                <a:cubicBezTo>
                  <a:pt x="7229" y="4781"/>
                  <a:pt x="7215" y="4781"/>
                  <a:pt x="7203" y="4781"/>
                </a:cubicBezTo>
                <a:cubicBezTo>
                  <a:pt x="7203" y="4807"/>
                  <a:pt x="7235" y="4801"/>
                  <a:pt x="7222" y="4826"/>
                </a:cubicBezTo>
                <a:cubicBezTo>
                  <a:pt x="7248" y="4819"/>
                  <a:pt x="7267" y="4807"/>
                  <a:pt x="7274" y="4788"/>
                </a:cubicBezTo>
                <a:cubicBezTo>
                  <a:pt x="7241" y="4801"/>
                  <a:pt x="7248" y="4775"/>
                  <a:pt x="7229" y="4775"/>
                </a:cubicBezTo>
                <a:close/>
                <a:moveTo>
                  <a:pt x="5967" y="4761"/>
                </a:moveTo>
                <a:cubicBezTo>
                  <a:pt x="5949" y="4762"/>
                  <a:pt x="5938" y="4783"/>
                  <a:pt x="5923" y="4769"/>
                </a:cubicBezTo>
                <a:cubicBezTo>
                  <a:pt x="5923" y="4814"/>
                  <a:pt x="5885" y="4781"/>
                  <a:pt x="5885" y="4826"/>
                </a:cubicBezTo>
                <a:cubicBezTo>
                  <a:pt x="5897" y="4845"/>
                  <a:pt x="5923" y="4833"/>
                  <a:pt x="5904" y="4820"/>
                </a:cubicBezTo>
                <a:cubicBezTo>
                  <a:pt x="5943" y="4833"/>
                  <a:pt x="5982" y="4807"/>
                  <a:pt x="5988" y="4769"/>
                </a:cubicBezTo>
                <a:cubicBezTo>
                  <a:pt x="5980" y="4762"/>
                  <a:pt x="5973" y="4760"/>
                  <a:pt x="5967" y="4761"/>
                </a:cubicBezTo>
                <a:close/>
                <a:moveTo>
                  <a:pt x="7293" y="4749"/>
                </a:moveTo>
                <a:cubicBezTo>
                  <a:pt x="7291" y="4749"/>
                  <a:pt x="7289" y="4749"/>
                  <a:pt x="7286" y="4750"/>
                </a:cubicBezTo>
                <a:cubicBezTo>
                  <a:pt x="7286" y="4756"/>
                  <a:pt x="7286" y="4756"/>
                  <a:pt x="7281" y="4756"/>
                </a:cubicBezTo>
                <a:cubicBezTo>
                  <a:pt x="7281" y="4762"/>
                  <a:pt x="7281" y="4769"/>
                  <a:pt x="7287" y="4769"/>
                </a:cubicBezTo>
                <a:cubicBezTo>
                  <a:pt x="7287" y="4762"/>
                  <a:pt x="7287" y="4762"/>
                  <a:pt x="7293" y="4762"/>
                </a:cubicBezTo>
                <a:cubicBezTo>
                  <a:pt x="7293" y="4769"/>
                  <a:pt x="7293" y="4775"/>
                  <a:pt x="7300" y="4775"/>
                </a:cubicBezTo>
                <a:cubicBezTo>
                  <a:pt x="7300" y="4769"/>
                  <a:pt x="7306" y="4769"/>
                  <a:pt x="7312" y="4769"/>
                </a:cubicBezTo>
                <a:cubicBezTo>
                  <a:pt x="7312" y="4762"/>
                  <a:pt x="7312" y="4750"/>
                  <a:pt x="7306" y="4750"/>
                </a:cubicBezTo>
                <a:cubicBezTo>
                  <a:pt x="7306" y="4772"/>
                  <a:pt x="7306" y="4750"/>
                  <a:pt x="7293" y="4749"/>
                </a:cubicBezTo>
                <a:close/>
                <a:moveTo>
                  <a:pt x="6898" y="4749"/>
                </a:moveTo>
                <a:cubicBezTo>
                  <a:pt x="6855" y="4748"/>
                  <a:pt x="6832" y="4799"/>
                  <a:pt x="6809" y="4782"/>
                </a:cubicBezTo>
                <a:cubicBezTo>
                  <a:pt x="6801" y="4795"/>
                  <a:pt x="6783" y="4795"/>
                  <a:pt x="6789" y="4814"/>
                </a:cubicBezTo>
                <a:cubicBezTo>
                  <a:pt x="6841" y="4807"/>
                  <a:pt x="6873" y="4788"/>
                  <a:pt x="6912" y="4750"/>
                </a:cubicBezTo>
                <a:cubicBezTo>
                  <a:pt x="6907" y="4749"/>
                  <a:pt x="6903" y="4749"/>
                  <a:pt x="6898" y="4749"/>
                </a:cubicBezTo>
                <a:close/>
                <a:moveTo>
                  <a:pt x="7490" y="4742"/>
                </a:moveTo>
                <a:cubicBezTo>
                  <a:pt x="7454" y="4741"/>
                  <a:pt x="7410" y="4797"/>
                  <a:pt x="7396" y="4820"/>
                </a:cubicBezTo>
                <a:cubicBezTo>
                  <a:pt x="7402" y="4845"/>
                  <a:pt x="7402" y="4859"/>
                  <a:pt x="7409" y="4890"/>
                </a:cubicBezTo>
                <a:cubicBezTo>
                  <a:pt x="7455" y="4890"/>
                  <a:pt x="7480" y="4864"/>
                  <a:pt x="7506" y="4852"/>
                </a:cubicBezTo>
                <a:cubicBezTo>
                  <a:pt x="7506" y="4839"/>
                  <a:pt x="7500" y="4839"/>
                  <a:pt x="7500" y="4826"/>
                </a:cubicBezTo>
                <a:cubicBezTo>
                  <a:pt x="7538" y="4814"/>
                  <a:pt x="7571" y="4794"/>
                  <a:pt x="7597" y="4769"/>
                </a:cubicBezTo>
                <a:cubicBezTo>
                  <a:pt x="7590" y="4769"/>
                  <a:pt x="7590" y="4756"/>
                  <a:pt x="7590" y="4750"/>
                </a:cubicBezTo>
                <a:cubicBezTo>
                  <a:pt x="7564" y="4750"/>
                  <a:pt x="7538" y="4762"/>
                  <a:pt x="7526" y="4775"/>
                </a:cubicBezTo>
                <a:cubicBezTo>
                  <a:pt x="7517" y="4752"/>
                  <a:pt x="7504" y="4742"/>
                  <a:pt x="7490" y="4742"/>
                </a:cubicBezTo>
                <a:close/>
                <a:moveTo>
                  <a:pt x="7183" y="4731"/>
                </a:moveTo>
                <a:cubicBezTo>
                  <a:pt x="7183" y="4743"/>
                  <a:pt x="7189" y="4743"/>
                  <a:pt x="7196" y="4750"/>
                </a:cubicBezTo>
                <a:cubicBezTo>
                  <a:pt x="7196" y="4762"/>
                  <a:pt x="7191" y="4763"/>
                  <a:pt x="7189" y="4772"/>
                </a:cubicBezTo>
                <a:lnTo>
                  <a:pt x="7189" y="4775"/>
                </a:lnTo>
                <a:lnTo>
                  <a:pt x="7189" y="4775"/>
                </a:lnTo>
                <a:lnTo>
                  <a:pt x="7184" y="4770"/>
                </a:lnTo>
                <a:cubicBezTo>
                  <a:pt x="7172" y="4756"/>
                  <a:pt x="7160" y="4736"/>
                  <a:pt x="7183" y="4731"/>
                </a:cubicBezTo>
                <a:close/>
                <a:moveTo>
                  <a:pt x="6733" y="4723"/>
                </a:moveTo>
                <a:lnTo>
                  <a:pt x="6732" y="4723"/>
                </a:lnTo>
                <a:cubicBezTo>
                  <a:pt x="6732" y="4724"/>
                  <a:pt x="6732" y="4724"/>
                  <a:pt x="6731" y="4724"/>
                </a:cubicBezTo>
                <a:lnTo>
                  <a:pt x="6733" y="4723"/>
                </a:lnTo>
                <a:close/>
                <a:moveTo>
                  <a:pt x="6982" y="4721"/>
                </a:moveTo>
                <a:cubicBezTo>
                  <a:pt x="6968" y="4722"/>
                  <a:pt x="6951" y="4735"/>
                  <a:pt x="6951" y="4743"/>
                </a:cubicBezTo>
                <a:cubicBezTo>
                  <a:pt x="6963" y="4737"/>
                  <a:pt x="6983" y="4750"/>
                  <a:pt x="6996" y="4737"/>
                </a:cubicBezTo>
                <a:cubicBezTo>
                  <a:pt x="6996" y="4725"/>
                  <a:pt x="6989" y="4721"/>
                  <a:pt x="6982" y="4721"/>
                </a:cubicBezTo>
                <a:close/>
                <a:moveTo>
                  <a:pt x="6227" y="4718"/>
                </a:moveTo>
                <a:cubicBezTo>
                  <a:pt x="6208" y="4724"/>
                  <a:pt x="6182" y="4731"/>
                  <a:pt x="6175" y="4750"/>
                </a:cubicBezTo>
                <a:cubicBezTo>
                  <a:pt x="6195" y="4743"/>
                  <a:pt x="6195" y="4756"/>
                  <a:pt x="6208" y="4756"/>
                </a:cubicBezTo>
                <a:cubicBezTo>
                  <a:pt x="6214" y="4743"/>
                  <a:pt x="6234" y="4743"/>
                  <a:pt x="6227" y="4718"/>
                </a:cubicBezTo>
                <a:close/>
                <a:moveTo>
                  <a:pt x="6445" y="4715"/>
                </a:moveTo>
                <a:cubicBezTo>
                  <a:pt x="6441" y="4714"/>
                  <a:pt x="6437" y="4715"/>
                  <a:pt x="6434" y="4717"/>
                </a:cubicBezTo>
                <a:cubicBezTo>
                  <a:pt x="6447" y="4731"/>
                  <a:pt x="6447" y="4750"/>
                  <a:pt x="6460" y="4756"/>
                </a:cubicBezTo>
                <a:cubicBezTo>
                  <a:pt x="6476" y="4741"/>
                  <a:pt x="6461" y="4716"/>
                  <a:pt x="6445" y="4715"/>
                </a:cubicBezTo>
                <a:close/>
                <a:moveTo>
                  <a:pt x="6738" y="4705"/>
                </a:moveTo>
                <a:cubicBezTo>
                  <a:pt x="6731" y="4724"/>
                  <a:pt x="6711" y="4705"/>
                  <a:pt x="6705" y="4711"/>
                </a:cubicBezTo>
                <a:cubicBezTo>
                  <a:pt x="6680" y="4769"/>
                  <a:pt x="6744" y="4795"/>
                  <a:pt x="6764" y="4756"/>
                </a:cubicBezTo>
                <a:cubicBezTo>
                  <a:pt x="6745" y="4744"/>
                  <a:pt x="6749" y="4721"/>
                  <a:pt x="6734" y="4723"/>
                </a:cubicBezTo>
                <a:lnTo>
                  <a:pt x="6733" y="4723"/>
                </a:lnTo>
                <a:lnTo>
                  <a:pt x="6734" y="4723"/>
                </a:lnTo>
                <a:cubicBezTo>
                  <a:pt x="6740" y="4719"/>
                  <a:pt x="6749" y="4705"/>
                  <a:pt x="6738" y="4705"/>
                </a:cubicBezTo>
                <a:close/>
                <a:moveTo>
                  <a:pt x="6421" y="4705"/>
                </a:moveTo>
                <a:cubicBezTo>
                  <a:pt x="6401" y="4711"/>
                  <a:pt x="6382" y="4705"/>
                  <a:pt x="6376" y="4736"/>
                </a:cubicBezTo>
                <a:cubicBezTo>
                  <a:pt x="6395" y="4730"/>
                  <a:pt x="6421" y="4730"/>
                  <a:pt x="6421" y="4705"/>
                </a:cubicBezTo>
                <a:close/>
                <a:moveTo>
                  <a:pt x="6025" y="4698"/>
                </a:moveTo>
                <a:cubicBezTo>
                  <a:pt x="6024" y="4698"/>
                  <a:pt x="6022" y="4698"/>
                  <a:pt x="6021" y="4698"/>
                </a:cubicBezTo>
                <a:cubicBezTo>
                  <a:pt x="6027" y="4705"/>
                  <a:pt x="6014" y="4731"/>
                  <a:pt x="6027" y="4730"/>
                </a:cubicBezTo>
                <a:cubicBezTo>
                  <a:pt x="6033" y="4730"/>
                  <a:pt x="6045" y="4697"/>
                  <a:pt x="6025" y="4698"/>
                </a:cubicBezTo>
                <a:close/>
                <a:moveTo>
                  <a:pt x="5912" y="4679"/>
                </a:moveTo>
                <a:cubicBezTo>
                  <a:pt x="5912" y="4685"/>
                  <a:pt x="5898" y="4685"/>
                  <a:pt x="5892" y="4685"/>
                </a:cubicBezTo>
                <a:cubicBezTo>
                  <a:pt x="5892" y="4705"/>
                  <a:pt x="5872" y="4705"/>
                  <a:pt x="5866" y="4724"/>
                </a:cubicBezTo>
                <a:cubicBezTo>
                  <a:pt x="5846" y="4711"/>
                  <a:pt x="5807" y="4717"/>
                  <a:pt x="5808" y="4742"/>
                </a:cubicBezTo>
                <a:cubicBezTo>
                  <a:pt x="5827" y="4749"/>
                  <a:pt x="5840" y="4768"/>
                  <a:pt x="5853" y="4780"/>
                </a:cubicBezTo>
                <a:cubicBezTo>
                  <a:pt x="5853" y="4768"/>
                  <a:pt x="5866" y="4768"/>
                  <a:pt x="5885" y="4768"/>
                </a:cubicBezTo>
                <a:cubicBezTo>
                  <a:pt x="5898" y="4742"/>
                  <a:pt x="5898" y="4735"/>
                  <a:pt x="5885" y="4710"/>
                </a:cubicBezTo>
                <a:cubicBezTo>
                  <a:pt x="5892" y="4704"/>
                  <a:pt x="5924" y="4691"/>
                  <a:pt x="5912" y="4679"/>
                </a:cubicBezTo>
                <a:close/>
                <a:moveTo>
                  <a:pt x="7248" y="4660"/>
                </a:moveTo>
                <a:cubicBezTo>
                  <a:pt x="7189" y="4698"/>
                  <a:pt x="7106" y="4711"/>
                  <a:pt x="7067" y="4769"/>
                </a:cubicBezTo>
                <a:cubicBezTo>
                  <a:pt x="7060" y="4762"/>
                  <a:pt x="7060" y="4756"/>
                  <a:pt x="7047" y="4762"/>
                </a:cubicBezTo>
                <a:cubicBezTo>
                  <a:pt x="7047" y="4795"/>
                  <a:pt x="7015" y="4801"/>
                  <a:pt x="6989" y="4789"/>
                </a:cubicBezTo>
                <a:cubicBezTo>
                  <a:pt x="6989" y="4821"/>
                  <a:pt x="7015" y="4802"/>
                  <a:pt x="7015" y="4808"/>
                </a:cubicBezTo>
                <a:cubicBezTo>
                  <a:pt x="7041" y="4846"/>
                  <a:pt x="6995" y="4872"/>
                  <a:pt x="7021" y="4897"/>
                </a:cubicBezTo>
                <a:cubicBezTo>
                  <a:pt x="7014" y="4904"/>
                  <a:pt x="6982" y="4916"/>
                  <a:pt x="7001" y="4929"/>
                </a:cubicBezTo>
                <a:cubicBezTo>
                  <a:pt x="7027" y="4909"/>
                  <a:pt x="7046" y="4897"/>
                  <a:pt x="7079" y="4884"/>
                </a:cubicBezTo>
                <a:cubicBezTo>
                  <a:pt x="7079" y="4890"/>
                  <a:pt x="7072" y="4897"/>
                  <a:pt x="7079" y="4897"/>
                </a:cubicBezTo>
                <a:cubicBezTo>
                  <a:pt x="7117" y="4890"/>
                  <a:pt x="7137" y="4858"/>
                  <a:pt x="7176" y="4845"/>
                </a:cubicBezTo>
                <a:cubicBezTo>
                  <a:pt x="7156" y="4859"/>
                  <a:pt x="7169" y="4884"/>
                  <a:pt x="7188" y="4890"/>
                </a:cubicBezTo>
                <a:cubicBezTo>
                  <a:pt x="7195" y="4877"/>
                  <a:pt x="7207" y="4870"/>
                  <a:pt x="7201" y="4852"/>
                </a:cubicBezTo>
                <a:cubicBezTo>
                  <a:pt x="7182" y="4845"/>
                  <a:pt x="7176" y="4819"/>
                  <a:pt x="7188" y="4794"/>
                </a:cubicBezTo>
                <a:cubicBezTo>
                  <a:pt x="7175" y="4794"/>
                  <a:pt x="7169" y="4807"/>
                  <a:pt x="7169" y="4794"/>
                </a:cubicBezTo>
                <a:cubicBezTo>
                  <a:pt x="7176" y="4788"/>
                  <a:pt x="7182" y="4781"/>
                  <a:pt x="7188" y="4775"/>
                </a:cubicBezTo>
                <a:lnTo>
                  <a:pt x="7189" y="4775"/>
                </a:lnTo>
                <a:lnTo>
                  <a:pt x="7189" y="4776"/>
                </a:lnTo>
                <a:lnTo>
                  <a:pt x="7189" y="4775"/>
                </a:lnTo>
                <a:lnTo>
                  <a:pt x="7195" y="4774"/>
                </a:lnTo>
                <a:cubicBezTo>
                  <a:pt x="7230" y="4766"/>
                  <a:pt x="7247" y="4747"/>
                  <a:pt x="7253" y="4705"/>
                </a:cubicBezTo>
                <a:cubicBezTo>
                  <a:pt x="7228" y="4698"/>
                  <a:pt x="7234" y="4730"/>
                  <a:pt x="7208" y="4724"/>
                </a:cubicBezTo>
                <a:cubicBezTo>
                  <a:pt x="7202" y="4724"/>
                  <a:pt x="7196" y="4717"/>
                  <a:pt x="7196" y="4705"/>
                </a:cubicBezTo>
                <a:cubicBezTo>
                  <a:pt x="7215" y="4698"/>
                  <a:pt x="7208" y="4711"/>
                  <a:pt x="7228" y="4705"/>
                </a:cubicBezTo>
                <a:cubicBezTo>
                  <a:pt x="7235" y="4691"/>
                  <a:pt x="7241" y="4679"/>
                  <a:pt x="7248" y="4660"/>
                </a:cubicBezTo>
                <a:close/>
                <a:moveTo>
                  <a:pt x="7237" y="4627"/>
                </a:moveTo>
                <a:cubicBezTo>
                  <a:pt x="7215" y="4626"/>
                  <a:pt x="7210" y="4653"/>
                  <a:pt x="7229" y="4653"/>
                </a:cubicBezTo>
                <a:cubicBezTo>
                  <a:pt x="7235" y="4647"/>
                  <a:pt x="7235" y="4641"/>
                  <a:pt x="7241" y="4628"/>
                </a:cubicBezTo>
                <a:cubicBezTo>
                  <a:pt x="7240" y="4628"/>
                  <a:pt x="7238" y="4627"/>
                  <a:pt x="7237" y="4627"/>
                </a:cubicBezTo>
                <a:close/>
                <a:moveTo>
                  <a:pt x="7441" y="4622"/>
                </a:moveTo>
                <a:cubicBezTo>
                  <a:pt x="7441" y="4641"/>
                  <a:pt x="7422" y="4634"/>
                  <a:pt x="7421" y="4653"/>
                </a:cubicBezTo>
                <a:cubicBezTo>
                  <a:pt x="7396" y="4647"/>
                  <a:pt x="7421" y="4628"/>
                  <a:pt x="7441" y="4622"/>
                </a:cubicBezTo>
                <a:close/>
                <a:moveTo>
                  <a:pt x="5911" y="4622"/>
                </a:moveTo>
                <a:cubicBezTo>
                  <a:pt x="5897" y="4622"/>
                  <a:pt x="5891" y="4628"/>
                  <a:pt x="5885" y="4628"/>
                </a:cubicBezTo>
                <a:cubicBezTo>
                  <a:pt x="5885" y="4641"/>
                  <a:pt x="5892" y="4647"/>
                  <a:pt x="5898" y="4653"/>
                </a:cubicBezTo>
                <a:cubicBezTo>
                  <a:pt x="5898" y="4641"/>
                  <a:pt x="5917" y="4641"/>
                  <a:pt x="5911" y="4622"/>
                </a:cubicBezTo>
                <a:close/>
                <a:moveTo>
                  <a:pt x="6146" y="4614"/>
                </a:moveTo>
                <a:cubicBezTo>
                  <a:pt x="6143" y="4614"/>
                  <a:pt x="6140" y="4614"/>
                  <a:pt x="6137" y="4615"/>
                </a:cubicBezTo>
                <a:cubicBezTo>
                  <a:pt x="6137" y="4622"/>
                  <a:pt x="6130" y="4628"/>
                  <a:pt x="6130" y="4634"/>
                </a:cubicBezTo>
                <a:lnTo>
                  <a:pt x="6156" y="4634"/>
                </a:lnTo>
                <a:cubicBezTo>
                  <a:pt x="6156" y="4624"/>
                  <a:pt x="6156" y="4614"/>
                  <a:pt x="6146" y="4614"/>
                </a:cubicBezTo>
                <a:close/>
                <a:moveTo>
                  <a:pt x="7835" y="4609"/>
                </a:moveTo>
                <a:cubicBezTo>
                  <a:pt x="7841" y="4622"/>
                  <a:pt x="7823" y="4641"/>
                  <a:pt x="7835" y="4647"/>
                </a:cubicBezTo>
                <a:cubicBezTo>
                  <a:pt x="7835" y="4660"/>
                  <a:pt x="7816" y="4653"/>
                  <a:pt x="7823" y="4666"/>
                </a:cubicBezTo>
                <a:cubicBezTo>
                  <a:pt x="7809" y="4660"/>
                  <a:pt x="7803" y="4653"/>
                  <a:pt x="7796" y="4641"/>
                </a:cubicBezTo>
                <a:cubicBezTo>
                  <a:pt x="7803" y="4622"/>
                  <a:pt x="7815" y="4609"/>
                  <a:pt x="7835" y="4609"/>
                </a:cubicBezTo>
                <a:close/>
                <a:moveTo>
                  <a:pt x="6608" y="4609"/>
                </a:moveTo>
                <a:cubicBezTo>
                  <a:pt x="6582" y="4609"/>
                  <a:pt x="6569" y="4634"/>
                  <a:pt x="6531" y="4622"/>
                </a:cubicBezTo>
                <a:cubicBezTo>
                  <a:pt x="6531" y="4651"/>
                  <a:pt x="6531" y="4659"/>
                  <a:pt x="6546" y="4676"/>
                </a:cubicBezTo>
                <a:lnTo>
                  <a:pt x="6549" y="4679"/>
                </a:lnTo>
                <a:lnTo>
                  <a:pt x="6549" y="4679"/>
                </a:lnTo>
                <a:lnTo>
                  <a:pt x="6545" y="4679"/>
                </a:lnTo>
                <a:cubicBezTo>
                  <a:pt x="6534" y="4680"/>
                  <a:pt x="6526" y="4680"/>
                  <a:pt x="6537" y="4686"/>
                </a:cubicBezTo>
                <a:cubicBezTo>
                  <a:pt x="6540" y="4684"/>
                  <a:pt x="6543" y="4682"/>
                  <a:pt x="6546" y="4681"/>
                </a:cubicBezTo>
                <a:lnTo>
                  <a:pt x="6549" y="4679"/>
                </a:lnTo>
                <a:lnTo>
                  <a:pt x="6550" y="4679"/>
                </a:lnTo>
                <a:lnTo>
                  <a:pt x="6549" y="4679"/>
                </a:lnTo>
                <a:lnTo>
                  <a:pt x="6555" y="4676"/>
                </a:lnTo>
                <a:cubicBezTo>
                  <a:pt x="6573" y="4666"/>
                  <a:pt x="6588" y="4655"/>
                  <a:pt x="6608" y="4641"/>
                </a:cubicBezTo>
                <a:cubicBezTo>
                  <a:pt x="6608" y="4641"/>
                  <a:pt x="6608" y="4641"/>
                  <a:pt x="6608" y="4609"/>
                </a:cubicBezTo>
                <a:close/>
                <a:moveTo>
                  <a:pt x="6896" y="4592"/>
                </a:moveTo>
                <a:cubicBezTo>
                  <a:pt x="6889" y="4592"/>
                  <a:pt x="6883" y="4595"/>
                  <a:pt x="6867" y="4595"/>
                </a:cubicBezTo>
                <a:cubicBezTo>
                  <a:pt x="6867" y="4627"/>
                  <a:pt x="6841" y="4634"/>
                  <a:pt x="6828" y="4646"/>
                </a:cubicBezTo>
                <a:cubicBezTo>
                  <a:pt x="6828" y="4666"/>
                  <a:pt x="6841" y="4666"/>
                  <a:pt x="6841" y="4685"/>
                </a:cubicBezTo>
                <a:cubicBezTo>
                  <a:pt x="6821" y="4679"/>
                  <a:pt x="6809" y="4698"/>
                  <a:pt x="6809" y="4685"/>
                </a:cubicBezTo>
                <a:cubicBezTo>
                  <a:pt x="6821" y="4685"/>
                  <a:pt x="6809" y="4666"/>
                  <a:pt x="6809" y="4660"/>
                </a:cubicBezTo>
                <a:cubicBezTo>
                  <a:pt x="6776" y="4667"/>
                  <a:pt x="6731" y="4698"/>
                  <a:pt x="6764" y="4729"/>
                </a:cubicBezTo>
                <a:cubicBezTo>
                  <a:pt x="6776" y="4729"/>
                  <a:pt x="6783" y="4710"/>
                  <a:pt x="6796" y="4723"/>
                </a:cubicBezTo>
                <a:cubicBezTo>
                  <a:pt x="6796" y="4735"/>
                  <a:pt x="6790" y="4742"/>
                  <a:pt x="6783" y="4748"/>
                </a:cubicBezTo>
                <a:cubicBezTo>
                  <a:pt x="6822" y="4768"/>
                  <a:pt x="6822" y="4729"/>
                  <a:pt x="6842" y="4717"/>
                </a:cubicBezTo>
                <a:cubicBezTo>
                  <a:pt x="6842" y="4697"/>
                  <a:pt x="6835" y="4684"/>
                  <a:pt x="6854" y="4678"/>
                </a:cubicBezTo>
                <a:cubicBezTo>
                  <a:pt x="6854" y="4684"/>
                  <a:pt x="6854" y="4690"/>
                  <a:pt x="6861" y="4697"/>
                </a:cubicBezTo>
                <a:cubicBezTo>
                  <a:pt x="6868" y="4684"/>
                  <a:pt x="6880" y="4684"/>
                  <a:pt x="6880" y="4665"/>
                </a:cubicBezTo>
                <a:cubicBezTo>
                  <a:pt x="6867" y="4665"/>
                  <a:pt x="6861" y="4659"/>
                  <a:pt x="6861" y="4640"/>
                </a:cubicBezTo>
                <a:cubicBezTo>
                  <a:pt x="6880" y="4640"/>
                  <a:pt x="6887" y="4646"/>
                  <a:pt x="6899" y="4646"/>
                </a:cubicBezTo>
                <a:cubicBezTo>
                  <a:pt x="6899" y="4627"/>
                  <a:pt x="6912" y="4627"/>
                  <a:pt x="6912" y="4595"/>
                </a:cubicBezTo>
                <a:cubicBezTo>
                  <a:pt x="6905" y="4593"/>
                  <a:pt x="6900" y="4592"/>
                  <a:pt x="6896" y="4592"/>
                </a:cubicBezTo>
                <a:close/>
                <a:moveTo>
                  <a:pt x="6234" y="4583"/>
                </a:moveTo>
                <a:cubicBezTo>
                  <a:pt x="6207" y="4583"/>
                  <a:pt x="6180" y="4588"/>
                  <a:pt x="6175" y="4622"/>
                </a:cubicBezTo>
                <a:cubicBezTo>
                  <a:pt x="6189" y="4628"/>
                  <a:pt x="6201" y="4628"/>
                  <a:pt x="6201" y="4641"/>
                </a:cubicBezTo>
                <a:cubicBezTo>
                  <a:pt x="6175" y="4653"/>
                  <a:pt x="6169" y="4679"/>
                  <a:pt x="6169" y="4692"/>
                </a:cubicBezTo>
                <a:cubicBezTo>
                  <a:pt x="6201" y="4692"/>
                  <a:pt x="6221" y="4653"/>
                  <a:pt x="6234" y="4653"/>
                </a:cubicBezTo>
                <a:cubicBezTo>
                  <a:pt x="6221" y="4628"/>
                  <a:pt x="6247" y="4602"/>
                  <a:pt x="6260" y="4583"/>
                </a:cubicBezTo>
                <a:cubicBezTo>
                  <a:pt x="6252" y="4583"/>
                  <a:pt x="6243" y="4583"/>
                  <a:pt x="6234" y="4583"/>
                </a:cubicBezTo>
                <a:close/>
                <a:moveTo>
                  <a:pt x="6731" y="4558"/>
                </a:moveTo>
                <a:cubicBezTo>
                  <a:pt x="6693" y="4558"/>
                  <a:pt x="6693" y="4589"/>
                  <a:pt x="6674" y="4609"/>
                </a:cubicBezTo>
                <a:cubicBezTo>
                  <a:pt x="6693" y="4622"/>
                  <a:pt x="6699" y="4590"/>
                  <a:pt x="6725" y="4597"/>
                </a:cubicBezTo>
                <a:cubicBezTo>
                  <a:pt x="6731" y="4577"/>
                  <a:pt x="6725" y="4583"/>
                  <a:pt x="6731" y="4558"/>
                </a:cubicBezTo>
                <a:close/>
                <a:moveTo>
                  <a:pt x="6485" y="4519"/>
                </a:moveTo>
                <a:cubicBezTo>
                  <a:pt x="6471" y="4518"/>
                  <a:pt x="6463" y="4533"/>
                  <a:pt x="6441" y="4533"/>
                </a:cubicBezTo>
                <a:cubicBezTo>
                  <a:pt x="6441" y="4558"/>
                  <a:pt x="6427" y="4570"/>
                  <a:pt x="6460" y="4578"/>
                </a:cubicBezTo>
                <a:cubicBezTo>
                  <a:pt x="6460" y="4571"/>
                  <a:pt x="6460" y="4559"/>
                  <a:pt x="6467" y="4559"/>
                </a:cubicBezTo>
                <a:cubicBezTo>
                  <a:pt x="6479" y="4578"/>
                  <a:pt x="6447" y="4585"/>
                  <a:pt x="6447" y="4604"/>
                </a:cubicBezTo>
                <a:cubicBezTo>
                  <a:pt x="6472" y="4597"/>
                  <a:pt x="6479" y="4578"/>
                  <a:pt x="6498" y="4565"/>
                </a:cubicBezTo>
                <a:cubicBezTo>
                  <a:pt x="6498" y="4578"/>
                  <a:pt x="6505" y="4590"/>
                  <a:pt x="6511" y="4590"/>
                </a:cubicBezTo>
                <a:cubicBezTo>
                  <a:pt x="6524" y="4578"/>
                  <a:pt x="6543" y="4584"/>
                  <a:pt x="6543" y="4559"/>
                </a:cubicBezTo>
                <a:cubicBezTo>
                  <a:pt x="6524" y="4545"/>
                  <a:pt x="6492" y="4552"/>
                  <a:pt x="6492" y="4520"/>
                </a:cubicBezTo>
                <a:cubicBezTo>
                  <a:pt x="6490" y="4519"/>
                  <a:pt x="6487" y="4519"/>
                  <a:pt x="6485" y="4519"/>
                </a:cubicBezTo>
                <a:close/>
                <a:moveTo>
                  <a:pt x="6886" y="4506"/>
                </a:moveTo>
                <a:cubicBezTo>
                  <a:pt x="6847" y="4506"/>
                  <a:pt x="6821" y="4525"/>
                  <a:pt x="6815" y="4552"/>
                </a:cubicBezTo>
                <a:cubicBezTo>
                  <a:pt x="6828" y="4558"/>
                  <a:pt x="6847" y="4558"/>
                  <a:pt x="6841" y="4583"/>
                </a:cubicBezTo>
                <a:cubicBezTo>
                  <a:pt x="6867" y="4583"/>
                  <a:pt x="6893" y="4577"/>
                  <a:pt x="6906" y="4552"/>
                </a:cubicBezTo>
                <a:cubicBezTo>
                  <a:pt x="6886" y="4538"/>
                  <a:pt x="6906" y="4519"/>
                  <a:pt x="6886" y="4506"/>
                </a:cubicBezTo>
                <a:close/>
                <a:moveTo>
                  <a:pt x="6750" y="4456"/>
                </a:moveTo>
                <a:cubicBezTo>
                  <a:pt x="6738" y="4500"/>
                  <a:pt x="6699" y="4514"/>
                  <a:pt x="6679" y="4539"/>
                </a:cubicBezTo>
                <a:cubicBezTo>
                  <a:pt x="6698" y="4533"/>
                  <a:pt x="6698" y="4545"/>
                  <a:pt x="6718" y="4545"/>
                </a:cubicBezTo>
                <a:cubicBezTo>
                  <a:pt x="6731" y="4513"/>
                  <a:pt x="6776" y="4513"/>
                  <a:pt x="6783" y="4475"/>
                </a:cubicBezTo>
                <a:cubicBezTo>
                  <a:pt x="6756" y="4488"/>
                  <a:pt x="6770" y="4456"/>
                  <a:pt x="6750" y="4456"/>
                </a:cubicBezTo>
                <a:close/>
                <a:moveTo>
                  <a:pt x="6172" y="4450"/>
                </a:moveTo>
                <a:cubicBezTo>
                  <a:pt x="6146" y="4449"/>
                  <a:pt x="6115" y="4458"/>
                  <a:pt x="6124" y="4475"/>
                </a:cubicBezTo>
                <a:cubicBezTo>
                  <a:pt x="6124" y="4469"/>
                  <a:pt x="6130" y="4475"/>
                  <a:pt x="6130" y="4488"/>
                </a:cubicBezTo>
                <a:cubicBezTo>
                  <a:pt x="6163" y="4488"/>
                  <a:pt x="6182" y="4475"/>
                  <a:pt x="6201" y="4456"/>
                </a:cubicBezTo>
                <a:cubicBezTo>
                  <a:pt x="6195" y="4452"/>
                  <a:pt x="6184" y="4450"/>
                  <a:pt x="6172" y="4450"/>
                </a:cubicBezTo>
                <a:close/>
                <a:moveTo>
                  <a:pt x="7125" y="4379"/>
                </a:moveTo>
                <a:cubicBezTo>
                  <a:pt x="7112" y="4391"/>
                  <a:pt x="7093" y="4417"/>
                  <a:pt x="7106" y="4430"/>
                </a:cubicBezTo>
                <a:cubicBezTo>
                  <a:pt x="7125" y="4423"/>
                  <a:pt x="7138" y="4410"/>
                  <a:pt x="7138" y="4391"/>
                </a:cubicBezTo>
                <a:cubicBezTo>
                  <a:pt x="7132" y="4391"/>
                  <a:pt x="7132" y="4385"/>
                  <a:pt x="7125" y="4379"/>
                </a:cubicBezTo>
                <a:close/>
                <a:moveTo>
                  <a:pt x="6790" y="4378"/>
                </a:moveTo>
                <a:cubicBezTo>
                  <a:pt x="6738" y="4384"/>
                  <a:pt x="6705" y="4461"/>
                  <a:pt x="6654" y="4429"/>
                </a:cubicBezTo>
                <a:cubicBezTo>
                  <a:pt x="6629" y="4429"/>
                  <a:pt x="6629" y="4448"/>
                  <a:pt x="6609" y="4435"/>
                </a:cubicBezTo>
                <a:cubicBezTo>
                  <a:pt x="6609" y="4423"/>
                  <a:pt x="6629" y="4410"/>
                  <a:pt x="6609" y="4404"/>
                </a:cubicBezTo>
                <a:cubicBezTo>
                  <a:pt x="6609" y="4410"/>
                  <a:pt x="6595" y="4410"/>
                  <a:pt x="6583" y="4410"/>
                </a:cubicBezTo>
                <a:cubicBezTo>
                  <a:pt x="6614" y="4454"/>
                  <a:pt x="6569" y="4461"/>
                  <a:pt x="6563" y="4493"/>
                </a:cubicBezTo>
                <a:cubicBezTo>
                  <a:pt x="6576" y="4499"/>
                  <a:pt x="6583" y="4474"/>
                  <a:pt x="6589" y="4493"/>
                </a:cubicBezTo>
                <a:cubicBezTo>
                  <a:pt x="6576" y="4506"/>
                  <a:pt x="6550" y="4499"/>
                  <a:pt x="6557" y="4538"/>
                </a:cubicBezTo>
                <a:cubicBezTo>
                  <a:pt x="6589" y="4525"/>
                  <a:pt x="6557" y="4538"/>
                  <a:pt x="6563" y="4563"/>
                </a:cubicBezTo>
                <a:cubicBezTo>
                  <a:pt x="6615" y="4563"/>
                  <a:pt x="6602" y="4493"/>
                  <a:pt x="6654" y="4493"/>
                </a:cubicBezTo>
                <a:cubicBezTo>
                  <a:pt x="6673" y="4500"/>
                  <a:pt x="6640" y="4519"/>
                  <a:pt x="6660" y="4532"/>
                </a:cubicBezTo>
                <a:cubicBezTo>
                  <a:pt x="6719" y="4519"/>
                  <a:pt x="6712" y="4442"/>
                  <a:pt x="6764" y="4416"/>
                </a:cubicBezTo>
                <a:cubicBezTo>
                  <a:pt x="6764" y="4436"/>
                  <a:pt x="6738" y="4430"/>
                  <a:pt x="6744" y="4455"/>
                </a:cubicBezTo>
                <a:cubicBezTo>
                  <a:pt x="6763" y="4449"/>
                  <a:pt x="6763" y="4461"/>
                  <a:pt x="6783" y="4455"/>
                </a:cubicBezTo>
                <a:cubicBezTo>
                  <a:pt x="6802" y="4424"/>
                  <a:pt x="6770" y="4411"/>
                  <a:pt x="6790" y="4378"/>
                </a:cubicBezTo>
                <a:close/>
                <a:moveTo>
                  <a:pt x="7527" y="4352"/>
                </a:moveTo>
                <a:cubicBezTo>
                  <a:pt x="7543" y="4351"/>
                  <a:pt x="7544" y="4366"/>
                  <a:pt x="7500" y="4366"/>
                </a:cubicBezTo>
                <a:cubicBezTo>
                  <a:pt x="7510" y="4356"/>
                  <a:pt x="7520" y="4352"/>
                  <a:pt x="7527" y="4352"/>
                </a:cubicBezTo>
                <a:close/>
                <a:moveTo>
                  <a:pt x="6886" y="4268"/>
                </a:moveTo>
                <a:cubicBezTo>
                  <a:pt x="6876" y="4268"/>
                  <a:pt x="6873" y="4275"/>
                  <a:pt x="6873" y="4289"/>
                </a:cubicBezTo>
                <a:cubicBezTo>
                  <a:pt x="6880" y="4289"/>
                  <a:pt x="6880" y="4296"/>
                  <a:pt x="6892" y="4289"/>
                </a:cubicBezTo>
                <a:cubicBezTo>
                  <a:pt x="6892" y="4283"/>
                  <a:pt x="6899" y="4283"/>
                  <a:pt x="6899" y="4270"/>
                </a:cubicBezTo>
                <a:cubicBezTo>
                  <a:pt x="6894" y="4269"/>
                  <a:pt x="6890" y="4268"/>
                  <a:pt x="6886" y="4268"/>
                </a:cubicBezTo>
                <a:close/>
                <a:moveTo>
                  <a:pt x="7713" y="4244"/>
                </a:moveTo>
                <a:cubicBezTo>
                  <a:pt x="7719" y="4251"/>
                  <a:pt x="7725" y="4251"/>
                  <a:pt x="7725" y="4244"/>
                </a:cubicBezTo>
                <a:cubicBezTo>
                  <a:pt x="7745" y="4251"/>
                  <a:pt x="7719" y="4257"/>
                  <a:pt x="7726" y="4276"/>
                </a:cubicBezTo>
                <a:cubicBezTo>
                  <a:pt x="7700" y="4270"/>
                  <a:pt x="7700" y="4301"/>
                  <a:pt x="7668" y="4289"/>
                </a:cubicBezTo>
                <a:cubicBezTo>
                  <a:pt x="7668" y="4282"/>
                  <a:pt x="7674" y="4276"/>
                  <a:pt x="7674" y="4270"/>
                </a:cubicBezTo>
                <a:cubicBezTo>
                  <a:pt x="7693" y="4270"/>
                  <a:pt x="7713" y="4263"/>
                  <a:pt x="7713" y="4244"/>
                </a:cubicBezTo>
                <a:close/>
                <a:moveTo>
                  <a:pt x="7596" y="4239"/>
                </a:moveTo>
                <a:cubicBezTo>
                  <a:pt x="7577" y="4245"/>
                  <a:pt x="7551" y="4245"/>
                  <a:pt x="7551" y="4270"/>
                </a:cubicBezTo>
                <a:cubicBezTo>
                  <a:pt x="7564" y="4277"/>
                  <a:pt x="7577" y="4277"/>
                  <a:pt x="7590" y="4278"/>
                </a:cubicBezTo>
                <a:cubicBezTo>
                  <a:pt x="7590" y="4258"/>
                  <a:pt x="7596" y="4258"/>
                  <a:pt x="7596" y="4239"/>
                </a:cubicBezTo>
                <a:close/>
                <a:moveTo>
                  <a:pt x="7208" y="4233"/>
                </a:moveTo>
                <a:cubicBezTo>
                  <a:pt x="7208" y="4234"/>
                  <a:pt x="7208" y="4235"/>
                  <a:pt x="7208" y="4236"/>
                </a:cubicBezTo>
                <a:lnTo>
                  <a:pt x="7207" y="4238"/>
                </a:lnTo>
                <a:lnTo>
                  <a:pt x="7207" y="4236"/>
                </a:lnTo>
                <a:cubicBezTo>
                  <a:pt x="7207" y="4235"/>
                  <a:pt x="7208" y="4234"/>
                  <a:pt x="7208" y="4233"/>
                </a:cubicBezTo>
                <a:close/>
                <a:moveTo>
                  <a:pt x="7396" y="4225"/>
                </a:moveTo>
                <a:cubicBezTo>
                  <a:pt x="7383" y="4238"/>
                  <a:pt x="7370" y="4225"/>
                  <a:pt x="7357" y="4238"/>
                </a:cubicBezTo>
                <a:cubicBezTo>
                  <a:pt x="7357" y="4251"/>
                  <a:pt x="7370" y="4264"/>
                  <a:pt x="7364" y="4283"/>
                </a:cubicBezTo>
                <a:cubicBezTo>
                  <a:pt x="7390" y="4277"/>
                  <a:pt x="7396" y="4232"/>
                  <a:pt x="7396" y="4225"/>
                </a:cubicBezTo>
                <a:close/>
                <a:moveTo>
                  <a:pt x="7609" y="4212"/>
                </a:moveTo>
                <a:cubicBezTo>
                  <a:pt x="7609" y="4238"/>
                  <a:pt x="7609" y="4251"/>
                  <a:pt x="7603" y="4270"/>
                </a:cubicBezTo>
                <a:cubicBezTo>
                  <a:pt x="7603" y="4270"/>
                  <a:pt x="7609" y="4276"/>
                  <a:pt x="7609" y="4282"/>
                </a:cubicBezTo>
                <a:cubicBezTo>
                  <a:pt x="7635" y="4276"/>
                  <a:pt x="7648" y="4270"/>
                  <a:pt x="7661" y="4251"/>
                </a:cubicBezTo>
                <a:cubicBezTo>
                  <a:pt x="7661" y="4277"/>
                  <a:pt x="7616" y="4308"/>
                  <a:pt x="7577" y="4320"/>
                </a:cubicBezTo>
                <a:cubicBezTo>
                  <a:pt x="7577" y="4320"/>
                  <a:pt x="7577" y="4320"/>
                  <a:pt x="7577" y="4289"/>
                </a:cubicBezTo>
                <a:cubicBezTo>
                  <a:pt x="7564" y="4282"/>
                  <a:pt x="7525" y="4295"/>
                  <a:pt x="7519" y="4276"/>
                </a:cubicBezTo>
                <a:cubicBezTo>
                  <a:pt x="7545" y="4251"/>
                  <a:pt x="7571" y="4225"/>
                  <a:pt x="7609" y="4212"/>
                </a:cubicBezTo>
                <a:close/>
                <a:moveTo>
                  <a:pt x="1285" y="4160"/>
                </a:moveTo>
                <a:cubicBezTo>
                  <a:pt x="1293" y="4161"/>
                  <a:pt x="1296" y="4169"/>
                  <a:pt x="1305" y="4174"/>
                </a:cubicBezTo>
                <a:cubicBezTo>
                  <a:pt x="1299" y="4187"/>
                  <a:pt x="1267" y="4168"/>
                  <a:pt x="1267" y="4193"/>
                </a:cubicBezTo>
                <a:cubicBezTo>
                  <a:pt x="1260" y="4193"/>
                  <a:pt x="1273" y="4168"/>
                  <a:pt x="1273" y="4161"/>
                </a:cubicBezTo>
                <a:cubicBezTo>
                  <a:pt x="1278" y="4160"/>
                  <a:pt x="1282" y="4159"/>
                  <a:pt x="1285" y="4160"/>
                </a:cubicBezTo>
                <a:close/>
                <a:moveTo>
                  <a:pt x="7699" y="4155"/>
                </a:moveTo>
                <a:cubicBezTo>
                  <a:pt x="7706" y="4161"/>
                  <a:pt x="7719" y="4168"/>
                  <a:pt x="7719" y="4187"/>
                </a:cubicBezTo>
                <a:cubicBezTo>
                  <a:pt x="7687" y="4180"/>
                  <a:pt x="7706" y="4232"/>
                  <a:pt x="7673" y="4225"/>
                </a:cubicBezTo>
                <a:cubicBezTo>
                  <a:pt x="7673" y="4206"/>
                  <a:pt x="7661" y="4199"/>
                  <a:pt x="7667" y="4180"/>
                </a:cubicBezTo>
                <a:cubicBezTo>
                  <a:pt x="7680" y="4174"/>
                  <a:pt x="7693" y="4168"/>
                  <a:pt x="7699" y="4155"/>
                </a:cubicBezTo>
                <a:close/>
                <a:moveTo>
                  <a:pt x="7099" y="4123"/>
                </a:moveTo>
                <a:cubicBezTo>
                  <a:pt x="7093" y="4136"/>
                  <a:pt x="7093" y="4149"/>
                  <a:pt x="7093" y="4168"/>
                </a:cubicBezTo>
                <a:cubicBezTo>
                  <a:pt x="7112" y="4161"/>
                  <a:pt x="7132" y="4155"/>
                  <a:pt x="7132" y="4129"/>
                </a:cubicBezTo>
                <a:cubicBezTo>
                  <a:pt x="7119" y="4135"/>
                  <a:pt x="7119" y="4123"/>
                  <a:pt x="7099" y="4123"/>
                </a:cubicBezTo>
                <a:close/>
                <a:moveTo>
                  <a:pt x="7506" y="4116"/>
                </a:moveTo>
                <a:cubicBezTo>
                  <a:pt x="7525" y="4124"/>
                  <a:pt x="7525" y="4136"/>
                  <a:pt x="7519" y="4155"/>
                </a:cubicBezTo>
                <a:cubicBezTo>
                  <a:pt x="7506" y="4149"/>
                  <a:pt x="7493" y="4129"/>
                  <a:pt x="7506" y="4116"/>
                </a:cubicBezTo>
                <a:close/>
                <a:moveTo>
                  <a:pt x="7415" y="4109"/>
                </a:moveTo>
                <a:cubicBezTo>
                  <a:pt x="7421" y="4110"/>
                  <a:pt x="7426" y="4112"/>
                  <a:pt x="7428" y="4116"/>
                </a:cubicBezTo>
                <a:cubicBezTo>
                  <a:pt x="7428" y="4123"/>
                  <a:pt x="7416" y="4123"/>
                  <a:pt x="7416" y="4135"/>
                </a:cubicBezTo>
                <a:cubicBezTo>
                  <a:pt x="7396" y="4142"/>
                  <a:pt x="7402" y="4123"/>
                  <a:pt x="7396" y="4116"/>
                </a:cubicBezTo>
                <a:cubicBezTo>
                  <a:pt x="7396" y="4112"/>
                  <a:pt x="7406" y="4109"/>
                  <a:pt x="7415" y="4109"/>
                </a:cubicBezTo>
                <a:close/>
                <a:moveTo>
                  <a:pt x="614" y="4072"/>
                </a:moveTo>
                <a:cubicBezTo>
                  <a:pt x="621" y="4079"/>
                  <a:pt x="633" y="4091"/>
                  <a:pt x="653" y="4085"/>
                </a:cubicBezTo>
                <a:cubicBezTo>
                  <a:pt x="640" y="4149"/>
                  <a:pt x="582" y="4130"/>
                  <a:pt x="550" y="4149"/>
                </a:cubicBezTo>
                <a:cubicBezTo>
                  <a:pt x="556" y="4129"/>
                  <a:pt x="582" y="4129"/>
                  <a:pt x="602" y="4117"/>
                </a:cubicBezTo>
                <a:cubicBezTo>
                  <a:pt x="595" y="4097"/>
                  <a:pt x="608" y="4085"/>
                  <a:pt x="614" y="4072"/>
                </a:cubicBezTo>
                <a:close/>
                <a:moveTo>
                  <a:pt x="807" y="3973"/>
                </a:moveTo>
                <a:cubicBezTo>
                  <a:pt x="813" y="3973"/>
                  <a:pt x="819" y="3974"/>
                  <a:pt x="827" y="3977"/>
                </a:cubicBezTo>
                <a:cubicBezTo>
                  <a:pt x="827" y="3989"/>
                  <a:pt x="820" y="3996"/>
                  <a:pt x="814" y="4002"/>
                </a:cubicBezTo>
                <a:cubicBezTo>
                  <a:pt x="795" y="4002"/>
                  <a:pt x="802" y="3982"/>
                  <a:pt x="782" y="3983"/>
                </a:cubicBezTo>
                <a:cubicBezTo>
                  <a:pt x="790" y="3975"/>
                  <a:pt x="798" y="3972"/>
                  <a:pt x="807" y="3973"/>
                </a:cubicBezTo>
                <a:close/>
                <a:moveTo>
                  <a:pt x="726" y="3946"/>
                </a:moveTo>
                <a:cubicBezTo>
                  <a:pt x="738" y="3948"/>
                  <a:pt x="753" y="3977"/>
                  <a:pt x="763" y="3957"/>
                </a:cubicBezTo>
                <a:cubicBezTo>
                  <a:pt x="795" y="3982"/>
                  <a:pt x="737" y="4008"/>
                  <a:pt x="769" y="4027"/>
                </a:cubicBezTo>
                <a:cubicBezTo>
                  <a:pt x="749" y="4052"/>
                  <a:pt x="704" y="4059"/>
                  <a:pt x="679" y="4078"/>
                </a:cubicBezTo>
                <a:cubicBezTo>
                  <a:pt x="685" y="4052"/>
                  <a:pt x="711" y="4020"/>
                  <a:pt x="705" y="4001"/>
                </a:cubicBezTo>
                <a:cubicBezTo>
                  <a:pt x="705" y="3982"/>
                  <a:pt x="731" y="3989"/>
                  <a:pt x="738" y="3976"/>
                </a:cubicBezTo>
                <a:cubicBezTo>
                  <a:pt x="738" y="3963"/>
                  <a:pt x="730" y="3957"/>
                  <a:pt x="718" y="3951"/>
                </a:cubicBezTo>
                <a:cubicBezTo>
                  <a:pt x="720" y="3947"/>
                  <a:pt x="723" y="3946"/>
                  <a:pt x="726" y="3946"/>
                </a:cubicBezTo>
                <a:close/>
                <a:moveTo>
                  <a:pt x="853" y="3905"/>
                </a:moveTo>
                <a:cubicBezTo>
                  <a:pt x="863" y="3905"/>
                  <a:pt x="855" y="3924"/>
                  <a:pt x="873" y="3918"/>
                </a:cubicBezTo>
                <a:cubicBezTo>
                  <a:pt x="873" y="3937"/>
                  <a:pt x="847" y="3931"/>
                  <a:pt x="834" y="3931"/>
                </a:cubicBezTo>
                <a:cubicBezTo>
                  <a:pt x="834" y="3918"/>
                  <a:pt x="847" y="3918"/>
                  <a:pt x="847" y="3906"/>
                </a:cubicBezTo>
                <a:cubicBezTo>
                  <a:pt x="849" y="3905"/>
                  <a:pt x="851" y="3905"/>
                  <a:pt x="853" y="3905"/>
                </a:cubicBezTo>
                <a:close/>
                <a:moveTo>
                  <a:pt x="1367" y="3898"/>
                </a:moveTo>
                <a:cubicBezTo>
                  <a:pt x="1416" y="3899"/>
                  <a:pt x="1440" y="3917"/>
                  <a:pt x="1480" y="3906"/>
                </a:cubicBezTo>
                <a:cubicBezTo>
                  <a:pt x="1466" y="3938"/>
                  <a:pt x="1441" y="3963"/>
                  <a:pt x="1389" y="3957"/>
                </a:cubicBezTo>
                <a:cubicBezTo>
                  <a:pt x="1370" y="3944"/>
                  <a:pt x="1350" y="3925"/>
                  <a:pt x="1344" y="3899"/>
                </a:cubicBezTo>
                <a:cubicBezTo>
                  <a:pt x="1352" y="3899"/>
                  <a:pt x="1360" y="3898"/>
                  <a:pt x="1367" y="3898"/>
                </a:cubicBezTo>
                <a:close/>
                <a:moveTo>
                  <a:pt x="7571" y="3893"/>
                </a:moveTo>
                <a:cubicBezTo>
                  <a:pt x="7590" y="3893"/>
                  <a:pt x="7590" y="3906"/>
                  <a:pt x="7590" y="3918"/>
                </a:cubicBezTo>
                <a:cubicBezTo>
                  <a:pt x="7578" y="3918"/>
                  <a:pt x="7571" y="3937"/>
                  <a:pt x="7558" y="3925"/>
                </a:cubicBezTo>
                <a:cubicBezTo>
                  <a:pt x="7564" y="3912"/>
                  <a:pt x="7571" y="3906"/>
                  <a:pt x="7571" y="3893"/>
                </a:cubicBezTo>
                <a:close/>
                <a:moveTo>
                  <a:pt x="7648" y="3848"/>
                </a:moveTo>
                <a:cubicBezTo>
                  <a:pt x="7648" y="3874"/>
                  <a:pt x="7629" y="3893"/>
                  <a:pt x="7616" y="3912"/>
                </a:cubicBezTo>
                <a:cubicBezTo>
                  <a:pt x="7603" y="3899"/>
                  <a:pt x="7597" y="3880"/>
                  <a:pt x="7603" y="3867"/>
                </a:cubicBezTo>
                <a:cubicBezTo>
                  <a:pt x="7616" y="3861"/>
                  <a:pt x="7635" y="3854"/>
                  <a:pt x="7648" y="3848"/>
                </a:cubicBezTo>
                <a:close/>
                <a:moveTo>
                  <a:pt x="679" y="3835"/>
                </a:moveTo>
                <a:cubicBezTo>
                  <a:pt x="666" y="3861"/>
                  <a:pt x="647" y="3893"/>
                  <a:pt x="614" y="3899"/>
                </a:cubicBezTo>
                <a:cubicBezTo>
                  <a:pt x="621" y="3868"/>
                  <a:pt x="640" y="3835"/>
                  <a:pt x="679" y="3835"/>
                </a:cubicBezTo>
                <a:close/>
                <a:moveTo>
                  <a:pt x="7487" y="3797"/>
                </a:moveTo>
                <a:cubicBezTo>
                  <a:pt x="7512" y="3823"/>
                  <a:pt x="7441" y="3854"/>
                  <a:pt x="7410" y="3861"/>
                </a:cubicBezTo>
                <a:cubicBezTo>
                  <a:pt x="7410" y="3816"/>
                  <a:pt x="7455" y="3816"/>
                  <a:pt x="7487" y="3797"/>
                </a:cubicBezTo>
                <a:close/>
                <a:moveTo>
                  <a:pt x="862" y="3764"/>
                </a:moveTo>
                <a:cubicBezTo>
                  <a:pt x="868" y="3765"/>
                  <a:pt x="874" y="3767"/>
                  <a:pt x="879" y="3771"/>
                </a:cubicBezTo>
                <a:cubicBezTo>
                  <a:pt x="873" y="3771"/>
                  <a:pt x="828" y="3790"/>
                  <a:pt x="834" y="3771"/>
                </a:cubicBezTo>
                <a:cubicBezTo>
                  <a:pt x="842" y="3767"/>
                  <a:pt x="852" y="3763"/>
                  <a:pt x="862" y="3764"/>
                </a:cubicBezTo>
                <a:close/>
                <a:moveTo>
                  <a:pt x="1047" y="3740"/>
                </a:moveTo>
                <a:cubicBezTo>
                  <a:pt x="1047" y="3765"/>
                  <a:pt x="1015" y="3790"/>
                  <a:pt x="989" y="3778"/>
                </a:cubicBezTo>
                <a:cubicBezTo>
                  <a:pt x="982" y="3778"/>
                  <a:pt x="982" y="3784"/>
                  <a:pt x="976" y="3784"/>
                </a:cubicBezTo>
                <a:cubicBezTo>
                  <a:pt x="970" y="3810"/>
                  <a:pt x="982" y="3823"/>
                  <a:pt x="982" y="3842"/>
                </a:cubicBezTo>
                <a:cubicBezTo>
                  <a:pt x="970" y="3848"/>
                  <a:pt x="944" y="3848"/>
                  <a:pt x="937" y="3867"/>
                </a:cubicBezTo>
                <a:cubicBezTo>
                  <a:pt x="924" y="3861"/>
                  <a:pt x="950" y="3848"/>
                  <a:pt x="950" y="3835"/>
                </a:cubicBezTo>
                <a:cubicBezTo>
                  <a:pt x="937" y="3816"/>
                  <a:pt x="931" y="3823"/>
                  <a:pt x="911" y="3823"/>
                </a:cubicBezTo>
                <a:cubicBezTo>
                  <a:pt x="944" y="3785"/>
                  <a:pt x="989" y="3752"/>
                  <a:pt x="1047" y="3740"/>
                </a:cubicBezTo>
                <a:close/>
                <a:moveTo>
                  <a:pt x="7127" y="3694"/>
                </a:moveTo>
                <a:cubicBezTo>
                  <a:pt x="7086" y="3695"/>
                  <a:pt x="7041" y="3721"/>
                  <a:pt x="7041" y="3771"/>
                </a:cubicBezTo>
                <a:cubicBezTo>
                  <a:pt x="7086" y="3759"/>
                  <a:pt x="7125" y="3733"/>
                  <a:pt x="7144" y="3695"/>
                </a:cubicBezTo>
                <a:cubicBezTo>
                  <a:pt x="7139" y="3694"/>
                  <a:pt x="7133" y="3694"/>
                  <a:pt x="7127" y="3694"/>
                </a:cubicBezTo>
                <a:close/>
                <a:moveTo>
                  <a:pt x="7456" y="3662"/>
                </a:moveTo>
                <a:cubicBezTo>
                  <a:pt x="7433" y="3661"/>
                  <a:pt x="7416" y="3695"/>
                  <a:pt x="7435" y="3701"/>
                </a:cubicBezTo>
                <a:cubicBezTo>
                  <a:pt x="7441" y="3688"/>
                  <a:pt x="7461" y="3682"/>
                  <a:pt x="7461" y="3662"/>
                </a:cubicBezTo>
                <a:cubicBezTo>
                  <a:pt x="7459" y="3662"/>
                  <a:pt x="7458" y="3662"/>
                  <a:pt x="7456" y="3662"/>
                </a:cubicBezTo>
                <a:close/>
                <a:moveTo>
                  <a:pt x="989" y="3637"/>
                </a:moveTo>
                <a:cubicBezTo>
                  <a:pt x="982" y="3682"/>
                  <a:pt x="937" y="3695"/>
                  <a:pt x="899" y="3707"/>
                </a:cubicBezTo>
                <a:cubicBezTo>
                  <a:pt x="937" y="3695"/>
                  <a:pt x="937" y="3637"/>
                  <a:pt x="989" y="3637"/>
                </a:cubicBezTo>
                <a:close/>
                <a:moveTo>
                  <a:pt x="859" y="3637"/>
                </a:moveTo>
                <a:cubicBezTo>
                  <a:pt x="853" y="3656"/>
                  <a:pt x="834" y="3662"/>
                  <a:pt x="827" y="3676"/>
                </a:cubicBezTo>
                <a:cubicBezTo>
                  <a:pt x="814" y="3662"/>
                  <a:pt x="839" y="3637"/>
                  <a:pt x="859" y="3637"/>
                </a:cubicBezTo>
                <a:close/>
                <a:moveTo>
                  <a:pt x="7106" y="3625"/>
                </a:moveTo>
                <a:cubicBezTo>
                  <a:pt x="7086" y="3625"/>
                  <a:pt x="7079" y="3643"/>
                  <a:pt x="7073" y="3650"/>
                </a:cubicBezTo>
                <a:cubicBezTo>
                  <a:pt x="7093" y="3650"/>
                  <a:pt x="7106" y="3643"/>
                  <a:pt x="7106" y="3625"/>
                </a:cubicBezTo>
                <a:close/>
                <a:moveTo>
                  <a:pt x="6582" y="3548"/>
                </a:moveTo>
                <a:cubicBezTo>
                  <a:pt x="6563" y="3567"/>
                  <a:pt x="6524" y="3561"/>
                  <a:pt x="6511" y="3592"/>
                </a:cubicBezTo>
                <a:cubicBezTo>
                  <a:pt x="6524" y="3586"/>
                  <a:pt x="6543" y="3586"/>
                  <a:pt x="6550" y="3580"/>
                </a:cubicBezTo>
                <a:cubicBezTo>
                  <a:pt x="6531" y="3567"/>
                  <a:pt x="6588" y="3573"/>
                  <a:pt x="6582" y="3548"/>
                </a:cubicBezTo>
                <a:close/>
                <a:moveTo>
                  <a:pt x="7433" y="3499"/>
                </a:moveTo>
                <a:cubicBezTo>
                  <a:pt x="7391" y="3500"/>
                  <a:pt x="7348" y="3533"/>
                  <a:pt x="7319" y="3567"/>
                </a:cubicBezTo>
                <a:cubicBezTo>
                  <a:pt x="7299" y="3567"/>
                  <a:pt x="7312" y="3542"/>
                  <a:pt x="7293" y="3548"/>
                </a:cubicBezTo>
                <a:cubicBezTo>
                  <a:pt x="7267" y="3554"/>
                  <a:pt x="7274" y="3586"/>
                  <a:pt x="7241" y="3580"/>
                </a:cubicBezTo>
                <a:cubicBezTo>
                  <a:pt x="7235" y="3624"/>
                  <a:pt x="7203" y="3637"/>
                  <a:pt x="7177" y="3662"/>
                </a:cubicBezTo>
                <a:cubicBezTo>
                  <a:pt x="7196" y="3681"/>
                  <a:pt x="7208" y="3650"/>
                  <a:pt x="7228" y="3650"/>
                </a:cubicBezTo>
                <a:cubicBezTo>
                  <a:pt x="7215" y="3663"/>
                  <a:pt x="7228" y="3676"/>
                  <a:pt x="7228" y="3695"/>
                </a:cubicBezTo>
                <a:cubicBezTo>
                  <a:pt x="7312" y="3682"/>
                  <a:pt x="7435" y="3657"/>
                  <a:pt x="7435" y="3542"/>
                </a:cubicBezTo>
                <a:cubicBezTo>
                  <a:pt x="7455" y="3542"/>
                  <a:pt x="7461" y="3516"/>
                  <a:pt x="7474" y="3509"/>
                </a:cubicBezTo>
                <a:cubicBezTo>
                  <a:pt x="7461" y="3501"/>
                  <a:pt x="7447" y="3498"/>
                  <a:pt x="7433" y="3499"/>
                </a:cubicBezTo>
                <a:close/>
                <a:moveTo>
                  <a:pt x="6143" y="3465"/>
                </a:moveTo>
                <a:cubicBezTo>
                  <a:pt x="6136" y="3465"/>
                  <a:pt x="6124" y="3471"/>
                  <a:pt x="6123" y="3471"/>
                </a:cubicBezTo>
                <a:cubicBezTo>
                  <a:pt x="6111" y="3490"/>
                  <a:pt x="6162" y="3490"/>
                  <a:pt x="6149" y="3471"/>
                </a:cubicBezTo>
                <a:cubicBezTo>
                  <a:pt x="6149" y="3467"/>
                  <a:pt x="6147" y="3466"/>
                  <a:pt x="6143" y="3465"/>
                </a:cubicBezTo>
                <a:close/>
                <a:moveTo>
                  <a:pt x="911" y="3459"/>
                </a:moveTo>
                <a:cubicBezTo>
                  <a:pt x="924" y="3459"/>
                  <a:pt x="918" y="3478"/>
                  <a:pt x="924" y="3478"/>
                </a:cubicBezTo>
                <a:cubicBezTo>
                  <a:pt x="924" y="3497"/>
                  <a:pt x="879" y="3497"/>
                  <a:pt x="892" y="3465"/>
                </a:cubicBezTo>
                <a:cubicBezTo>
                  <a:pt x="899" y="3465"/>
                  <a:pt x="905" y="3465"/>
                  <a:pt x="911" y="3459"/>
                </a:cubicBezTo>
                <a:close/>
                <a:moveTo>
                  <a:pt x="7616" y="3458"/>
                </a:moveTo>
                <a:cubicBezTo>
                  <a:pt x="7597" y="3458"/>
                  <a:pt x="7590" y="3471"/>
                  <a:pt x="7590" y="3483"/>
                </a:cubicBezTo>
                <a:cubicBezTo>
                  <a:pt x="7603" y="3483"/>
                  <a:pt x="7609" y="3477"/>
                  <a:pt x="7616" y="3458"/>
                </a:cubicBezTo>
                <a:close/>
                <a:moveTo>
                  <a:pt x="7500" y="3452"/>
                </a:moveTo>
                <a:cubicBezTo>
                  <a:pt x="7512" y="3490"/>
                  <a:pt x="7474" y="3478"/>
                  <a:pt x="7480" y="3509"/>
                </a:cubicBezTo>
                <a:cubicBezTo>
                  <a:pt x="7500" y="3497"/>
                  <a:pt x="7526" y="3484"/>
                  <a:pt x="7526" y="3452"/>
                </a:cubicBezTo>
                <a:cubicBezTo>
                  <a:pt x="7526" y="3452"/>
                  <a:pt x="7526" y="3452"/>
                  <a:pt x="7500" y="3452"/>
                </a:cubicBezTo>
                <a:close/>
                <a:moveTo>
                  <a:pt x="6387" y="3367"/>
                </a:moveTo>
                <a:cubicBezTo>
                  <a:pt x="6368" y="3367"/>
                  <a:pt x="6343" y="3383"/>
                  <a:pt x="6337" y="3395"/>
                </a:cubicBezTo>
                <a:cubicBezTo>
                  <a:pt x="6343" y="3395"/>
                  <a:pt x="6350" y="3401"/>
                  <a:pt x="6350" y="3407"/>
                </a:cubicBezTo>
                <a:cubicBezTo>
                  <a:pt x="6369" y="3400"/>
                  <a:pt x="6388" y="3394"/>
                  <a:pt x="6395" y="3369"/>
                </a:cubicBezTo>
                <a:cubicBezTo>
                  <a:pt x="6392" y="3368"/>
                  <a:pt x="6390" y="3368"/>
                  <a:pt x="6387" y="3367"/>
                </a:cubicBezTo>
                <a:close/>
                <a:moveTo>
                  <a:pt x="7265" y="3320"/>
                </a:moveTo>
                <a:cubicBezTo>
                  <a:pt x="7246" y="3322"/>
                  <a:pt x="7239" y="3355"/>
                  <a:pt x="7203" y="3349"/>
                </a:cubicBezTo>
                <a:cubicBezTo>
                  <a:pt x="7203" y="3369"/>
                  <a:pt x="7209" y="3381"/>
                  <a:pt x="7215" y="3394"/>
                </a:cubicBezTo>
                <a:cubicBezTo>
                  <a:pt x="7241" y="3375"/>
                  <a:pt x="7280" y="3369"/>
                  <a:pt x="7280" y="3324"/>
                </a:cubicBezTo>
                <a:cubicBezTo>
                  <a:pt x="7274" y="3320"/>
                  <a:pt x="7269" y="3319"/>
                  <a:pt x="7265" y="3320"/>
                </a:cubicBezTo>
                <a:close/>
                <a:moveTo>
                  <a:pt x="1053" y="3305"/>
                </a:moveTo>
                <a:cubicBezTo>
                  <a:pt x="1072" y="3324"/>
                  <a:pt x="1034" y="3343"/>
                  <a:pt x="1034" y="3362"/>
                </a:cubicBezTo>
                <a:cubicBezTo>
                  <a:pt x="1034" y="3362"/>
                  <a:pt x="1034" y="3362"/>
                  <a:pt x="995" y="3362"/>
                </a:cubicBezTo>
                <a:cubicBezTo>
                  <a:pt x="1015" y="3336"/>
                  <a:pt x="1047" y="3330"/>
                  <a:pt x="1053" y="3305"/>
                </a:cubicBezTo>
                <a:close/>
                <a:moveTo>
                  <a:pt x="1583" y="3292"/>
                </a:moveTo>
                <a:cubicBezTo>
                  <a:pt x="1570" y="3292"/>
                  <a:pt x="1557" y="3298"/>
                  <a:pt x="1557" y="3311"/>
                </a:cubicBezTo>
                <a:cubicBezTo>
                  <a:pt x="1576" y="3311"/>
                  <a:pt x="1583" y="3311"/>
                  <a:pt x="1583" y="3292"/>
                </a:cubicBezTo>
                <a:close/>
                <a:moveTo>
                  <a:pt x="7971" y="3286"/>
                </a:moveTo>
                <a:cubicBezTo>
                  <a:pt x="7958" y="3337"/>
                  <a:pt x="7881" y="3356"/>
                  <a:pt x="7829" y="3381"/>
                </a:cubicBezTo>
                <a:cubicBezTo>
                  <a:pt x="7783" y="3407"/>
                  <a:pt x="7744" y="3439"/>
                  <a:pt x="7699" y="3445"/>
                </a:cubicBezTo>
                <a:cubicBezTo>
                  <a:pt x="7732" y="3375"/>
                  <a:pt x="7855" y="3369"/>
                  <a:pt x="7868" y="3350"/>
                </a:cubicBezTo>
                <a:cubicBezTo>
                  <a:pt x="7874" y="3324"/>
                  <a:pt x="7945" y="3311"/>
                  <a:pt x="7971" y="3286"/>
                </a:cubicBezTo>
                <a:close/>
                <a:moveTo>
                  <a:pt x="8138" y="3261"/>
                </a:moveTo>
                <a:cubicBezTo>
                  <a:pt x="8132" y="3279"/>
                  <a:pt x="8107" y="3279"/>
                  <a:pt x="8087" y="3286"/>
                </a:cubicBezTo>
                <a:cubicBezTo>
                  <a:pt x="8093" y="3266"/>
                  <a:pt x="8113" y="3260"/>
                  <a:pt x="8138" y="3261"/>
                </a:cubicBezTo>
                <a:close/>
                <a:moveTo>
                  <a:pt x="6915" y="3259"/>
                </a:moveTo>
                <a:cubicBezTo>
                  <a:pt x="6903" y="3259"/>
                  <a:pt x="6897" y="3269"/>
                  <a:pt x="6892" y="3279"/>
                </a:cubicBezTo>
                <a:cubicBezTo>
                  <a:pt x="6899" y="3286"/>
                  <a:pt x="6925" y="3273"/>
                  <a:pt x="6925" y="3261"/>
                </a:cubicBezTo>
                <a:cubicBezTo>
                  <a:pt x="6921" y="3259"/>
                  <a:pt x="6918" y="3259"/>
                  <a:pt x="6915" y="3259"/>
                </a:cubicBezTo>
                <a:close/>
                <a:moveTo>
                  <a:pt x="6122" y="3252"/>
                </a:moveTo>
                <a:cubicBezTo>
                  <a:pt x="6115" y="3251"/>
                  <a:pt x="6107" y="3255"/>
                  <a:pt x="6104" y="3261"/>
                </a:cubicBezTo>
                <a:cubicBezTo>
                  <a:pt x="6104" y="3267"/>
                  <a:pt x="6124" y="3292"/>
                  <a:pt x="6130" y="3279"/>
                </a:cubicBezTo>
                <a:cubicBezTo>
                  <a:pt x="6124" y="3279"/>
                  <a:pt x="6124" y="3273"/>
                  <a:pt x="6124" y="3273"/>
                </a:cubicBezTo>
                <a:cubicBezTo>
                  <a:pt x="6124" y="3273"/>
                  <a:pt x="6124" y="3273"/>
                  <a:pt x="6137" y="3273"/>
                </a:cubicBezTo>
                <a:cubicBezTo>
                  <a:pt x="6140" y="3258"/>
                  <a:pt x="6131" y="3252"/>
                  <a:pt x="6122" y="3252"/>
                </a:cubicBezTo>
                <a:close/>
                <a:moveTo>
                  <a:pt x="1622" y="3248"/>
                </a:moveTo>
                <a:cubicBezTo>
                  <a:pt x="1609" y="3248"/>
                  <a:pt x="1609" y="3261"/>
                  <a:pt x="1590" y="3254"/>
                </a:cubicBezTo>
                <a:cubicBezTo>
                  <a:pt x="1590" y="3267"/>
                  <a:pt x="1596" y="3267"/>
                  <a:pt x="1596" y="3279"/>
                </a:cubicBezTo>
                <a:cubicBezTo>
                  <a:pt x="1609" y="3273"/>
                  <a:pt x="1628" y="3266"/>
                  <a:pt x="1622" y="3248"/>
                </a:cubicBezTo>
                <a:close/>
                <a:moveTo>
                  <a:pt x="7609" y="3209"/>
                </a:moveTo>
                <a:cubicBezTo>
                  <a:pt x="7603" y="3216"/>
                  <a:pt x="7597" y="3228"/>
                  <a:pt x="7603" y="3241"/>
                </a:cubicBezTo>
                <a:cubicBezTo>
                  <a:pt x="7622" y="3241"/>
                  <a:pt x="7635" y="3234"/>
                  <a:pt x="7635" y="3216"/>
                </a:cubicBezTo>
                <a:cubicBezTo>
                  <a:pt x="7622" y="3222"/>
                  <a:pt x="7622" y="3209"/>
                  <a:pt x="7609" y="3209"/>
                </a:cubicBezTo>
                <a:close/>
                <a:moveTo>
                  <a:pt x="900" y="3208"/>
                </a:moveTo>
                <a:cubicBezTo>
                  <a:pt x="913" y="3208"/>
                  <a:pt x="924" y="3212"/>
                  <a:pt x="931" y="3222"/>
                </a:cubicBezTo>
                <a:cubicBezTo>
                  <a:pt x="899" y="3242"/>
                  <a:pt x="912" y="3306"/>
                  <a:pt x="886" y="3331"/>
                </a:cubicBezTo>
                <a:cubicBezTo>
                  <a:pt x="847" y="3324"/>
                  <a:pt x="821" y="3337"/>
                  <a:pt x="795" y="3350"/>
                </a:cubicBezTo>
                <a:cubicBezTo>
                  <a:pt x="814" y="3324"/>
                  <a:pt x="847" y="3317"/>
                  <a:pt x="860" y="3286"/>
                </a:cubicBezTo>
                <a:cubicBezTo>
                  <a:pt x="847" y="3273"/>
                  <a:pt x="866" y="3253"/>
                  <a:pt x="840" y="3228"/>
                </a:cubicBezTo>
                <a:cubicBezTo>
                  <a:pt x="857" y="3216"/>
                  <a:pt x="880" y="3207"/>
                  <a:pt x="900" y="3208"/>
                </a:cubicBezTo>
                <a:close/>
                <a:moveTo>
                  <a:pt x="7258" y="3188"/>
                </a:moveTo>
                <a:cubicBezTo>
                  <a:pt x="7238" y="3188"/>
                  <a:pt x="7229" y="3206"/>
                  <a:pt x="7235" y="3234"/>
                </a:cubicBezTo>
                <a:cubicBezTo>
                  <a:pt x="7261" y="3234"/>
                  <a:pt x="7267" y="3208"/>
                  <a:pt x="7267" y="3189"/>
                </a:cubicBezTo>
                <a:cubicBezTo>
                  <a:pt x="7264" y="3189"/>
                  <a:pt x="7261" y="3188"/>
                  <a:pt x="7258" y="3188"/>
                </a:cubicBezTo>
                <a:close/>
                <a:moveTo>
                  <a:pt x="8385" y="3131"/>
                </a:moveTo>
                <a:cubicBezTo>
                  <a:pt x="8397" y="3132"/>
                  <a:pt x="8410" y="3134"/>
                  <a:pt x="8423" y="3139"/>
                </a:cubicBezTo>
                <a:cubicBezTo>
                  <a:pt x="8430" y="3158"/>
                  <a:pt x="8410" y="3158"/>
                  <a:pt x="8404" y="3171"/>
                </a:cubicBezTo>
                <a:cubicBezTo>
                  <a:pt x="8352" y="3164"/>
                  <a:pt x="8339" y="3152"/>
                  <a:pt x="8307" y="3183"/>
                </a:cubicBezTo>
                <a:cubicBezTo>
                  <a:pt x="8317" y="3150"/>
                  <a:pt x="8348" y="3131"/>
                  <a:pt x="8385" y="3131"/>
                </a:cubicBezTo>
                <a:close/>
                <a:moveTo>
                  <a:pt x="855" y="3128"/>
                </a:moveTo>
                <a:cubicBezTo>
                  <a:pt x="859" y="3128"/>
                  <a:pt x="863" y="3129"/>
                  <a:pt x="866" y="3133"/>
                </a:cubicBezTo>
                <a:cubicBezTo>
                  <a:pt x="860" y="3145"/>
                  <a:pt x="847" y="3152"/>
                  <a:pt x="828" y="3152"/>
                </a:cubicBezTo>
                <a:cubicBezTo>
                  <a:pt x="832" y="3142"/>
                  <a:pt x="844" y="3129"/>
                  <a:pt x="855" y="3128"/>
                </a:cubicBezTo>
                <a:close/>
                <a:moveTo>
                  <a:pt x="6772" y="3127"/>
                </a:moveTo>
                <a:cubicBezTo>
                  <a:pt x="6770" y="3127"/>
                  <a:pt x="6767" y="3129"/>
                  <a:pt x="6764" y="3132"/>
                </a:cubicBezTo>
                <a:cubicBezTo>
                  <a:pt x="6756" y="3152"/>
                  <a:pt x="6770" y="3145"/>
                  <a:pt x="6770" y="3157"/>
                </a:cubicBezTo>
                <a:cubicBezTo>
                  <a:pt x="6790" y="3151"/>
                  <a:pt x="6802" y="3151"/>
                  <a:pt x="6802" y="3132"/>
                </a:cubicBezTo>
                <a:cubicBezTo>
                  <a:pt x="6788" y="3137"/>
                  <a:pt x="6781" y="3127"/>
                  <a:pt x="6772" y="3127"/>
                </a:cubicBezTo>
                <a:close/>
                <a:moveTo>
                  <a:pt x="8288" y="3119"/>
                </a:moveTo>
                <a:cubicBezTo>
                  <a:pt x="8307" y="3139"/>
                  <a:pt x="8268" y="3145"/>
                  <a:pt x="8262" y="3158"/>
                </a:cubicBezTo>
                <a:cubicBezTo>
                  <a:pt x="8243" y="3138"/>
                  <a:pt x="8288" y="3138"/>
                  <a:pt x="8288" y="3119"/>
                </a:cubicBezTo>
                <a:close/>
                <a:moveTo>
                  <a:pt x="6401" y="3113"/>
                </a:moveTo>
                <a:cubicBezTo>
                  <a:pt x="6376" y="3113"/>
                  <a:pt x="6376" y="3125"/>
                  <a:pt x="6362" y="3138"/>
                </a:cubicBezTo>
                <a:cubicBezTo>
                  <a:pt x="6388" y="3144"/>
                  <a:pt x="6388" y="3125"/>
                  <a:pt x="6401" y="3113"/>
                </a:cubicBezTo>
                <a:close/>
                <a:moveTo>
                  <a:pt x="1557" y="3113"/>
                </a:moveTo>
                <a:cubicBezTo>
                  <a:pt x="1486" y="3126"/>
                  <a:pt x="1428" y="3139"/>
                  <a:pt x="1447" y="3222"/>
                </a:cubicBezTo>
                <a:cubicBezTo>
                  <a:pt x="1466" y="3228"/>
                  <a:pt x="1466" y="3247"/>
                  <a:pt x="1486" y="3247"/>
                </a:cubicBezTo>
                <a:cubicBezTo>
                  <a:pt x="1538" y="3234"/>
                  <a:pt x="1564" y="3164"/>
                  <a:pt x="1557" y="3113"/>
                </a:cubicBezTo>
                <a:close/>
                <a:moveTo>
                  <a:pt x="6696" y="3087"/>
                </a:moveTo>
                <a:cubicBezTo>
                  <a:pt x="6695" y="3087"/>
                  <a:pt x="6694" y="3087"/>
                  <a:pt x="6693" y="3088"/>
                </a:cubicBezTo>
                <a:cubicBezTo>
                  <a:pt x="6685" y="3094"/>
                  <a:pt x="6685" y="3107"/>
                  <a:pt x="6686" y="3119"/>
                </a:cubicBezTo>
                <a:cubicBezTo>
                  <a:pt x="6706" y="3119"/>
                  <a:pt x="6719" y="3119"/>
                  <a:pt x="6719" y="3100"/>
                </a:cubicBezTo>
                <a:cubicBezTo>
                  <a:pt x="6701" y="3106"/>
                  <a:pt x="6704" y="3087"/>
                  <a:pt x="6696" y="3087"/>
                </a:cubicBezTo>
                <a:close/>
                <a:moveTo>
                  <a:pt x="6602" y="3081"/>
                </a:moveTo>
                <a:cubicBezTo>
                  <a:pt x="6595" y="3119"/>
                  <a:pt x="6557" y="3119"/>
                  <a:pt x="6551" y="3152"/>
                </a:cubicBezTo>
                <a:cubicBezTo>
                  <a:pt x="6570" y="3159"/>
                  <a:pt x="6557" y="3171"/>
                  <a:pt x="6557" y="3184"/>
                </a:cubicBezTo>
                <a:cubicBezTo>
                  <a:pt x="6576" y="3177"/>
                  <a:pt x="6602" y="3158"/>
                  <a:pt x="6602" y="3145"/>
                </a:cubicBezTo>
                <a:cubicBezTo>
                  <a:pt x="6602" y="3164"/>
                  <a:pt x="6628" y="3158"/>
                  <a:pt x="6648" y="3158"/>
                </a:cubicBezTo>
                <a:cubicBezTo>
                  <a:pt x="6666" y="3132"/>
                  <a:pt x="6640" y="3132"/>
                  <a:pt x="6660" y="3107"/>
                </a:cubicBezTo>
                <a:cubicBezTo>
                  <a:pt x="6634" y="3107"/>
                  <a:pt x="6628" y="3081"/>
                  <a:pt x="6602" y="3081"/>
                </a:cubicBezTo>
                <a:close/>
                <a:moveTo>
                  <a:pt x="7228" y="3030"/>
                </a:moveTo>
                <a:cubicBezTo>
                  <a:pt x="7227" y="3030"/>
                  <a:pt x="7226" y="3030"/>
                  <a:pt x="7226" y="3030"/>
                </a:cubicBezTo>
                <a:cubicBezTo>
                  <a:pt x="7225" y="3030"/>
                  <a:pt x="7225" y="3030"/>
                  <a:pt x="7224" y="3030"/>
                </a:cubicBezTo>
                <a:cubicBezTo>
                  <a:pt x="7223" y="3030"/>
                  <a:pt x="7222" y="3030"/>
                  <a:pt x="7222" y="3030"/>
                </a:cubicBezTo>
                <a:cubicBezTo>
                  <a:pt x="7221" y="3030"/>
                  <a:pt x="7220" y="3030"/>
                  <a:pt x="7219" y="3030"/>
                </a:cubicBezTo>
                <a:cubicBezTo>
                  <a:pt x="7219" y="3030"/>
                  <a:pt x="7218" y="3030"/>
                  <a:pt x="7217" y="3030"/>
                </a:cubicBezTo>
                <a:cubicBezTo>
                  <a:pt x="7217" y="3030"/>
                  <a:pt x="7216" y="3030"/>
                  <a:pt x="7215" y="3030"/>
                </a:cubicBezTo>
                <a:lnTo>
                  <a:pt x="7228" y="3030"/>
                </a:lnTo>
                <a:close/>
                <a:moveTo>
                  <a:pt x="6208" y="2921"/>
                </a:moveTo>
                <a:cubicBezTo>
                  <a:pt x="6175" y="2934"/>
                  <a:pt x="6143" y="2953"/>
                  <a:pt x="6111" y="2972"/>
                </a:cubicBezTo>
                <a:cubicBezTo>
                  <a:pt x="6104" y="3011"/>
                  <a:pt x="6072" y="3011"/>
                  <a:pt x="6065" y="3047"/>
                </a:cubicBezTo>
                <a:cubicBezTo>
                  <a:pt x="6097" y="3054"/>
                  <a:pt x="6090" y="3073"/>
                  <a:pt x="6077" y="3099"/>
                </a:cubicBezTo>
                <a:cubicBezTo>
                  <a:pt x="6097" y="3099"/>
                  <a:pt x="6110" y="3099"/>
                  <a:pt x="6110" y="3111"/>
                </a:cubicBezTo>
                <a:cubicBezTo>
                  <a:pt x="6097" y="3124"/>
                  <a:pt x="6090" y="3105"/>
                  <a:pt x="6077" y="3111"/>
                </a:cubicBezTo>
                <a:cubicBezTo>
                  <a:pt x="6052" y="3163"/>
                  <a:pt x="6123" y="3169"/>
                  <a:pt x="6136" y="3175"/>
                </a:cubicBezTo>
                <a:cubicBezTo>
                  <a:pt x="6156" y="3189"/>
                  <a:pt x="6123" y="3195"/>
                  <a:pt x="6129" y="3220"/>
                </a:cubicBezTo>
                <a:cubicBezTo>
                  <a:pt x="6143" y="3227"/>
                  <a:pt x="6137" y="3208"/>
                  <a:pt x="6149" y="3208"/>
                </a:cubicBezTo>
                <a:cubicBezTo>
                  <a:pt x="6163" y="3240"/>
                  <a:pt x="6169" y="3214"/>
                  <a:pt x="6169" y="3253"/>
                </a:cubicBezTo>
                <a:cubicBezTo>
                  <a:pt x="6220" y="3253"/>
                  <a:pt x="6194" y="3195"/>
                  <a:pt x="6220" y="3182"/>
                </a:cubicBezTo>
                <a:cubicBezTo>
                  <a:pt x="6233" y="3182"/>
                  <a:pt x="6227" y="3189"/>
                  <a:pt x="6233" y="3195"/>
                </a:cubicBezTo>
                <a:cubicBezTo>
                  <a:pt x="6233" y="3156"/>
                  <a:pt x="6265" y="3182"/>
                  <a:pt x="6265" y="3137"/>
                </a:cubicBezTo>
                <a:cubicBezTo>
                  <a:pt x="6227" y="3131"/>
                  <a:pt x="6188" y="3176"/>
                  <a:pt x="6149" y="3189"/>
                </a:cubicBezTo>
                <a:cubicBezTo>
                  <a:pt x="6149" y="3176"/>
                  <a:pt x="6149" y="3170"/>
                  <a:pt x="6143" y="3163"/>
                </a:cubicBezTo>
                <a:cubicBezTo>
                  <a:pt x="6188" y="3151"/>
                  <a:pt x="6168" y="3074"/>
                  <a:pt x="6227" y="3080"/>
                </a:cubicBezTo>
                <a:cubicBezTo>
                  <a:pt x="6234" y="3042"/>
                  <a:pt x="6265" y="3029"/>
                  <a:pt x="6285" y="3010"/>
                </a:cubicBezTo>
                <a:cubicBezTo>
                  <a:pt x="6285" y="3010"/>
                  <a:pt x="6279" y="3004"/>
                  <a:pt x="6279" y="2998"/>
                </a:cubicBezTo>
                <a:cubicBezTo>
                  <a:pt x="6260" y="2998"/>
                  <a:pt x="6266" y="3004"/>
                  <a:pt x="6240" y="3010"/>
                </a:cubicBezTo>
                <a:cubicBezTo>
                  <a:pt x="6246" y="2979"/>
                  <a:pt x="6214" y="3004"/>
                  <a:pt x="6208" y="2991"/>
                </a:cubicBezTo>
                <a:cubicBezTo>
                  <a:pt x="6220" y="2978"/>
                  <a:pt x="6240" y="2972"/>
                  <a:pt x="6240" y="2953"/>
                </a:cubicBezTo>
                <a:cubicBezTo>
                  <a:pt x="6227" y="2953"/>
                  <a:pt x="6214" y="2934"/>
                  <a:pt x="6208" y="2921"/>
                </a:cubicBezTo>
                <a:close/>
                <a:moveTo>
                  <a:pt x="1039" y="2904"/>
                </a:moveTo>
                <a:cubicBezTo>
                  <a:pt x="1036" y="2904"/>
                  <a:pt x="1032" y="2905"/>
                  <a:pt x="1027" y="2908"/>
                </a:cubicBezTo>
                <a:cubicBezTo>
                  <a:pt x="1021" y="2960"/>
                  <a:pt x="995" y="2979"/>
                  <a:pt x="1001" y="3036"/>
                </a:cubicBezTo>
                <a:cubicBezTo>
                  <a:pt x="1041" y="3011"/>
                  <a:pt x="1066" y="2966"/>
                  <a:pt x="1072" y="2915"/>
                </a:cubicBezTo>
                <a:cubicBezTo>
                  <a:pt x="1053" y="2915"/>
                  <a:pt x="1049" y="2904"/>
                  <a:pt x="1039" y="2904"/>
                </a:cubicBezTo>
                <a:close/>
                <a:moveTo>
                  <a:pt x="7296" y="2891"/>
                </a:moveTo>
                <a:cubicBezTo>
                  <a:pt x="7302" y="2892"/>
                  <a:pt x="7306" y="2897"/>
                  <a:pt x="7306" y="2908"/>
                </a:cubicBezTo>
                <a:cubicBezTo>
                  <a:pt x="7293" y="2908"/>
                  <a:pt x="7280" y="2908"/>
                  <a:pt x="7274" y="2921"/>
                </a:cubicBezTo>
                <a:cubicBezTo>
                  <a:pt x="7267" y="2921"/>
                  <a:pt x="7280" y="2908"/>
                  <a:pt x="7267" y="2908"/>
                </a:cubicBezTo>
                <a:cubicBezTo>
                  <a:pt x="7271" y="2900"/>
                  <a:pt x="7285" y="2890"/>
                  <a:pt x="7296" y="2891"/>
                </a:cubicBezTo>
                <a:close/>
                <a:moveTo>
                  <a:pt x="6815" y="2863"/>
                </a:moveTo>
                <a:cubicBezTo>
                  <a:pt x="6834" y="2877"/>
                  <a:pt x="6802" y="2889"/>
                  <a:pt x="6809" y="2901"/>
                </a:cubicBezTo>
                <a:cubicBezTo>
                  <a:pt x="6795" y="2901"/>
                  <a:pt x="6801" y="2882"/>
                  <a:pt x="6789" y="2882"/>
                </a:cubicBezTo>
                <a:cubicBezTo>
                  <a:pt x="6789" y="2870"/>
                  <a:pt x="6815" y="2876"/>
                  <a:pt x="6815" y="2863"/>
                </a:cubicBezTo>
                <a:close/>
                <a:moveTo>
                  <a:pt x="6472" y="2863"/>
                </a:moveTo>
                <a:cubicBezTo>
                  <a:pt x="6453" y="2870"/>
                  <a:pt x="6453" y="2896"/>
                  <a:pt x="6427" y="2895"/>
                </a:cubicBezTo>
                <a:cubicBezTo>
                  <a:pt x="6427" y="2870"/>
                  <a:pt x="6452" y="2870"/>
                  <a:pt x="6472" y="2863"/>
                </a:cubicBezTo>
                <a:close/>
                <a:moveTo>
                  <a:pt x="7809" y="2844"/>
                </a:moveTo>
                <a:cubicBezTo>
                  <a:pt x="7823" y="2844"/>
                  <a:pt x="7835" y="2876"/>
                  <a:pt x="7829" y="2870"/>
                </a:cubicBezTo>
                <a:cubicBezTo>
                  <a:pt x="7796" y="2896"/>
                  <a:pt x="7751" y="2915"/>
                  <a:pt x="7718" y="2946"/>
                </a:cubicBezTo>
                <a:cubicBezTo>
                  <a:pt x="7609" y="2960"/>
                  <a:pt x="7544" y="3049"/>
                  <a:pt x="7466" y="3049"/>
                </a:cubicBezTo>
                <a:cubicBezTo>
                  <a:pt x="7466" y="3029"/>
                  <a:pt x="7486" y="3023"/>
                  <a:pt x="7486" y="3004"/>
                </a:cubicBezTo>
                <a:cubicBezTo>
                  <a:pt x="7545" y="2979"/>
                  <a:pt x="7603" y="2959"/>
                  <a:pt x="7654" y="2934"/>
                </a:cubicBezTo>
                <a:cubicBezTo>
                  <a:pt x="7699" y="2908"/>
                  <a:pt x="7719" y="2857"/>
                  <a:pt x="7770" y="2851"/>
                </a:cubicBezTo>
                <a:cubicBezTo>
                  <a:pt x="7783" y="2844"/>
                  <a:pt x="7796" y="2863"/>
                  <a:pt x="7809" y="2844"/>
                </a:cubicBezTo>
                <a:close/>
                <a:moveTo>
                  <a:pt x="8003" y="2819"/>
                </a:moveTo>
                <a:cubicBezTo>
                  <a:pt x="8010" y="2819"/>
                  <a:pt x="8016" y="2825"/>
                  <a:pt x="8016" y="2832"/>
                </a:cubicBezTo>
                <a:cubicBezTo>
                  <a:pt x="8029" y="2832"/>
                  <a:pt x="8029" y="2825"/>
                  <a:pt x="8042" y="2825"/>
                </a:cubicBezTo>
                <a:cubicBezTo>
                  <a:pt x="8022" y="2838"/>
                  <a:pt x="8016" y="2857"/>
                  <a:pt x="7997" y="2864"/>
                </a:cubicBezTo>
                <a:cubicBezTo>
                  <a:pt x="7991" y="2844"/>
                  <a:pt x="8003" y="2832"/>
                  <a:pt x="8003" y="2819"/>
                </a:cubicBezTo>
                <a:close/>
                <a:moveTo>
                  <a:pt x="7724" y="2817"/>
                </a:moveTo>
                <a:cubicBezTo>
                  <a:pt x="7733" y="2818"/>
                  <a:pt x="7735" y="2825"/>
                  <a:pt x="7745" y="2825"/>
                </a:cubicBezTo>
                <a:cubicBezTo>
                  <a:pt x="7739" y="2838"/>
                  <a:pt x="7726" y="2844"/>
                  <a:pt x="7706" y="2851"/>
                </a:cubicBezTo>
                <a:cubicBezTo>
                  <a:pt x="7706" y="2838"/>
                  <a:pt x="7706" y="2825"/>
                  <a:pt x="7713" y="2819"/>
                </a:cubicBezTo>
                <a:cubicBezTo>
                  <a:pt x="7718" y="2818"/>
                  <a:pt x="7721" y="2817"/>
                  <a:pt x="7724" y="2817"/>
                </a:cubicBezTo>
                <a:close/>
                <a:moveTo>
                  <a:pt x="6692" y="2806"/>
                </a:moveTo>
                <a:cubicBezTo>
                  <a:pt x="6685" y="2819"/>
                  <a:pt x="6698" y="2819"/>
                  <a:pt x="6698" y="2838"/>
                </a:cubicBezTo>
                <a:cubicBezTo>
                  <a:pt x="6679" y="2838"/>
                  <a:pt x="6666" y="2851"/>
                  <a:pt x="6653" y="2838"/>
                </a:cubicBezTo>
                <a:cubicBezTo>
                  <a:pt x="6660" y="2819"/>
                  <a:pt x="6666" y="2806"/>
                  <a:pt x="6692" y="2806"/>
                </a:cubicBezTo>
                <a:close/>
                <a:moveTo>
                  <a:pt x="7067" y="2780"/>
                </a:moveTo>
                <a:cubicBezTo>
                  <a:pt x="7073" y="2780"/>
                  <a:pt x="7008" y="2813"/>
                  <a:pt x="6976" y="2819"/>
                </a:cubicBezTo>
                <a:cubicBezTo>
                  <a:pt x="6970" y="2793"/>
                  <a:pt x="7041" y="2793"/>
                  <a:pt x="7067" y="2780"/>
                </a:cubicBezTo>
                <a:close/>
                <a:moveTo>
                  <a:pt x="6832" y="2761"/>
                </a:moveTo>
                <a:cubicBezTo>
                  <a:pt x="6835" y="2761"/>
                  <a:pt x="6838" y="2761"/>
                  <a:pt x="6841" y="2761"/>
                </a:cubicBezTo>
                <a:cubicBezTo>
                  <a:pt x="6828" y="2793"/>
                  <a:pt x="6789" y="2793"/>
                  <a:pt x="6783" y="2826"/>
                </a:cubicBezTo>
                <a:cubicBezTo>
                  <a:pt x="6783" y="2833"/>
                  <a:pt x="6816" y="2826"/>
                  <a:pt x="6796" y="2845"/>
                </a:cubicBezTo>
                <a:cubicBezTo>
                  <a:pt x="6809" y="2845"/>
                  <a:pt x="6815" y="2833"/>
                  <a:pt x="6835" y="2839"/>
                </a:cubicBezTo>
                <a:cubicBezTo>
                  <a:pt x="6816" y="2859"/>
                  <a:pt x="6790" y="2871"/>
                  <a:pt x="6757" y="2878"/>
                </a:cubicBezTo>
                <a:cubicBezTo>
                  <a:pt x="6750" y="2897"/>
                  <a:pt x="6776" y="2884"/>
                  <a:pt x="6770" y="2903"/>
                </a:cubicBezTo>
                <a:cubicBezTo>
                  <a:pt x="6731" y="2903"/>
                  <a:pt x="6712" y="2922"/>
                  <a:pt x="6686" y="2934"/>
                </a:cubicBezTo>
                <a:cubicBezTo>
                  <a:pt x="6673" y="2921"/>
                  <a:pt x="6660" y="2915"/>
                  <a:pt x="6666" y="2889"/>
                </a:cubicBezTo>
                <a:cubicBezTo>
                  <a:pt x="6699" y="2870"/>
                  <a:pt x="6738" y="2851"/>
                  <a:pt x="6770" y="2832"/>
                </a:cubicBezTo>
                <a:cubicBezTo>
                  <a:pt x="6770" y="2790"/>
                  <a:pt x="6787" y="2759"/>
                  <a:pt x="6832" y="2761"/>
                </a:cubicBezTo>
                <a:close/>
                <a:moveTo>
                  <a:pt x="8411" y="2755"/>
                </a:moveTo>
                <a:cubicBezTo>
                  <a:pt x="8417" y="2755"/>
                  <a:pt x="8423" y="2761"/>
                  <a:pt x="8423" y="2774"/>
                </a:cubicBezTo>
                <a:cubicBezTo>
                  <a:pt x="8410" y="2780"/>
                  <a:pt x="8385" y="2793"/>
                  <a:pt x="8391" y="2768"/>
                </a:cubicBezTo>
                <a:cubicBezTo>
                  <a:pt x="8398" y="2768"/>
                  <a:pt x="8411" y="2761"/>
                  <a:pt x="8411" y="2755"/>
                </a:cubicBezTo>
                <a:close/>
                <a:moveTo>
                  <a:pt x="7745" y="2749"/>
                </a:moveTo>
                <a:cubicBezTo>
                  <a:pt x="7745" y="2749"/>
                  <a:pt x="7745" y="2749"/>
                  <a:pt x="7758" y="2749"/>
                </a:cubicBezTo>
                <a:cubicBezTo>
                  <a:pt x="7758" y="2787"/>
                  <a:pt x="7713" y="2780"/>
                  <a:pt x="7694" y="2800"/>
                </a:cubicBezTo>
                <a:cubicBezTo>
                  <a:pt x="7700" y="2774"/>
                  <a:pt x="7739" y="2780"/>
                  <a:pt x="7745" y="2749"/>
                </a:cubicBezTo>
                <a:close/>
                <a:moveTo>
                  <a:pt x="8016" y="2748"/>
                </a:moveTo>
                <a:cubicBezTo>
                  <a:pt x="8016" y="2761"/>
                  <a:pt x="8003" y="2768"/>
                  <a:pt x="8010" y="2787"/>
                </a:cubicBezTo>
                <a:cubicBezTo>
                  <a:pt x="7971" y="2787"/>
                  <a:pt x="7965" y="2819"/>
                  <a:pt x="7919" y="2812"/>
                </a:cubicBezTo>
                <a:cubicBezTo>
                  <a:pt x="7932" y="2773"/>
                  <a:pt x="7971" y="2754"/>
                  <a:pt x="8016" y="2748"/>
                </a:cubicBezTo>
                <a:close/>
                <a:moveTo>
                  <a:pt x="7487" y="2716"/>
                </a:moveTo>
                <a:cubicBezTo>
                  <a:pt x="7506" y="2716"/>
                  <a:pt x="7500" y="2735"/>
                  <a:pt x="7519" y="2735"/>
                </a:cubicBezTo>
                <a:cubicBezTo>
                  <a:pt x="7500" y="2755"/>
                  <a:pt x="7481" y="2768"/>
                  <a:pt x="7448" y="2774"/>
                </a:cubicBezTo>
                <a:cubicBezTo>
                  <a:pt x="7455" y="2748"/>
                  <a:pt x="7481" y="2742"/>
                  <a:pt x="7487" y="2716"/>
                </a:cubicBezTo>
                <a:close/>
                <a:moveTo>
                  <a:pt x="7711" y="2710"/>
                </a:moveTo>
                <a:cubicBezTo>
                  <a:pt x="7714" y="2710"/>
                  <a:pt x="7717" y="2710"/>
                  <a:pt x="7719" y="2711"/>
                </a:cubicBezTo>
                <a:cubicBezTo>
                  <a:pt x="7706" y="2730"/>
                  <a:pt x="7687" y="2743"/>
                  <a:pt x="7654" y="2743"/>
                </a:cubicBezTo>
                <a:cubicBezTo>
                  <a:pt x="7666" y="2731"/>
                  <a:pt x="7692" y="2710"/>
                  <a:pt x="7711" y="2710"/>
                </a:cubicBezTo>
                <a:close/>
                <a:moveTo>
                  <a:pt x="8255" y="2704"/>
                </a:moveTo>
                <a:cubicBezTo>
                  <a:pt x="8262" y="2724"/>
                  <a:pt x="8224" y="2736"/>
                  <a:pt x="8204" y="2743"/>
                </a:cubicBezTo>
                <a:cubicBezTo>
                  <a:pt x="8210" y="2723"/>
                  <a:pt x="8236" y="2716"/>
                  <a:pt x="8255" y="2704"/>
                </a:cubicBezTo>
                <a:close/>
                <a:moveTo>
                  <a:pt x="425" y="2695"/>
                </a:moveTo>
                <a:cubicBezTo>
                  <a:pt x="429" y="2695"/>
                  <a:pt x="436" y="2698"/>
                  <a:pt x="440" y="2698"/>
                </a:cubicBezTo>
                <a:cubicBezTo>
                  <a:pt x="440" y="2698"/>
                  <a:pt x="440" y="2698"/>
                  <a:pt x="440" y="2716"/>
                </a:cubicBezTo>
                <a:cubicBezTo>
                  <a:pt x="420" y="2723"/>
                  <a:pt x="426" y="2704"/>
                  <a:pt x="420" y="2698"/>
                </a:cubicBezTo>
                <a:cubicBezTo>
                  <a:pt x="420" y="2695"/>
                  <a:pt x="422" y="2695"/>
                  <a:pt x="425" y="2695"/>
                </a:cubicBezTo>
                <a:close/>
                <a:moveTo>
                  <a:pt x="7254" y="2680"/>
                </a:moveTo>
                <a:cubicBezTo>
                  <a:pt x="7267" y="2680"/>
                  <a:pt x="7278" y="2682"/>
                  <a:pt x="7286" y="2685"/>
                </a:cubicBezTo>
                <a:cubicBezTo>
                  <a:pt x="7286" y="2704"/>
                  <a:pt x="7254" y="2698"/>
                  <a:pt x="7254" y="2716"/>
                </a:cubicBezTo>
                <a:cubicBezTo>
                  <a:pt x="7279" y="2736"/>
                  <a:pt x="7299" y="2691"/>
                  <a:pt x="7338" y="2698"/>
                </a:cubicBezTo>
                <a:cubicBezTo>
                  <a:pt x="7312" y="2723"/>
                  <a:pt x="7267" y="2723"/>
                  <a:pt x="7246" y="2756"/>
                </a:cubicBezTo>
                <a:cubicBezTo>
                  <a:pt x="7246" y="2762"/>
                  <a:pt x="7260" y="2750"/>
                  <a:pt x="7272" y="2762"/>
                </a:cubicBezTo>
                <a:cubicBezTo>
                  <a:pt x="7260" y="2782"/>
                  <a:pt x="7260" y="2782"/>
                  <a:pt x="7260" y="2801"/>
                </a:cubicBezTo>
                <a:cubicBezTo>
                  <a:pt x="7241" y="2795"/>
                  <a:pt x="7227" y="2820"/>
                  <a:pt x="7221" y="2801"/>
                </a:cubicBezTo>
                <a:cubicBezTo>
                  <a:pt x="7214" y="2807"/>
                  <a:pt x="7214" y="2814"/>
                  <a:pt x="7208" y="2820"/>
                </a:cubicBezTo>
                <a:cubicBezTo>
                  <a:pt x="7208" y="2826"/>
                  <a:pt x="7214" y="2826"/>
                  <a:pt x="7214" y="2833"/>
                </a:cubicBezTo>
                <a:cubicBezTo>
                  <a:pt x="7233" y="2826"/>
                  <a:pt x="7247" y="2814"/>
                  <a:pt x="7260" y="2801"/>
                </a:cubicBezTo>
                <a:cubicBezTo>
                  <a:pt x="7278" y="2807"/>
                  <a:pt x="7253" y="2833"/>
                  <a:pt x="7233" y="2833"/>
                </a:cubicBezTo>
                <a:cubicBezTo>
                  <a:pt x="7220" y="2878"/>
                  <a:pt x="7169" y="2878"/>
                  <a:pt x="7136" y="2909"/>
                </a:cubicBezTo>
                <a:cubicBezTo>
                  <a:pt x="7124" y="2896"/>
                  <a:pt x="7124" y="2883"/>
                  <a:pt x="7124" y="2864"/>
                </a:cubicBezTo>
                <a:cubicBezTo>
                  <a:pt x="7136" y="2845"/>
                  <a:pt x="7143" y="2864"/>
                  <a:pt x="7162" y="2864"/>
                </a:cubicBezTo>
                <a:cubicBezTo>
                  <a:pt x="7169" y="2839"/>
                  <a:pt x="7150" y="2845"/>
                  <a:pt x="7130" y="2845"/>
                </a:cubicBezTo>
                <a:cubicBezTo>
                  <a:pt x="7156" y="2826"/>
                  <a:pt x="7195" y="2769"/>
                  <a:pt x="7221" y="2788"/>
                </a:cubicBezTo>
                <a:cubicBezTo>
                  <a:pt x="7228" y="2781"/>
                  <a:pt x="7234" y="2775"/>
                  <a:pt x="7241" y="2769"/>
                </a:cubicBezTo>
                <a:cubicBezTo>
                  <a:pt x="7234" y="2756"/>
                  <a:pt x="7215" y="2781"/>
                  <a:pt x="7196" y="2775"/>
                </a:cubicBezTo>
                <a:cubicBezTo>
                  <a:pt x="7208" y="2755"/>
                  <a:pt x="7177" y="2736"/>
                  <a:pt x="7157" y="2730"/>
                </a:cubicBezTo>
                <a:cubicBezTo>
                  <a:pt x="7167" y="2696"/>
                  <a:pt x="7217" y="2681"/>
                  <a:pt x="7254" y="2680"/>
                </a:cubicBezTo>
                <a:close/>
                <a:moveTo>
                  <a:pt x="8572" y="2634"/>
                </a:moveTo>
                <a:cubicBezTo>
                  <a:pt x="8585" y="2640"/>
                  <a:pt x="8559" y="2659"/>
                  <a:pt x="8559" y="2672"/>
                </a:cubicBezTo>
                <a:cubicBezTo>
                  <a:pt x="8540" y="2659"/>
                  <a:pt x="8566" y="2640"/>
                  <a:pt x="8572" y="2634"/>
                </a:cubicBezTo>
                <a:close/>
                <a:moveTo>
                  <a:pt x="7609" y="2626"/>
                </a:moveTo>
                <a:cubicBezTo>
                  <a:pt x="7590" y="2646"/>
                  <a:pt x="7564" y="2659"/>
                  <a:pt x="7538" y="2671"/>
                </a:cubicBezTo>
                <a:cubicBezTo>
                  <a:pt x="7551" y="2646"/>
                  <a:pt x="7583" y="2640"/>
                  <a:pt x="7609" y="2626"/>
                </a:cubicBezTo>
                <a:close/>
                <a:moveTo>
                  <a:pt x="7164" y="2626"/>
                </a:moveTo>
                <a:cubicBezTo>
                  <a:pt x="7170" y="2640"/>
                  <a:pt x="7151" y="2659"/>
                  <a:pt x="7132" y="2665"/>
                </a:cubicBezTo>
                <a:cubicBezTo>
                  <a:pt x="7132" y="2640"/>
                  <a:pt x="7157" y="2640"/>
                  <a:pt x="7164" y="2626"/>
                </a:cubicBezTo>
                <a:close/>
                <a:moveTo>
                  <a:pt x="7474" y="2620"/>
                </a:moveTo>
                <a:cubicBezTo>
                  <a:pt x="7441" y="2653"/>
                  <a:pt x="7492" y="2620"/>
                  <a:pt x="7480" y="2665"/>
                </a:cubicBezTo>
                <a:cubicBezTo>
                  <a:pt x="7474" y="2671"/>
                  <a:pt x="7454" y="2671"/>
                  <a:pt x="7441" y="2671"/>
                </a:cubicBezTo>
                <a:cubicBezTo>
                  <a:pt x="7441" y="2659"/>
                  <a:pt x="7441" y="2646"/>
                  <a:pt x="7455" y="2645"/>
                </a:cubicBezTo>
                <a:cubicBezTo>
                  <a:pt x="7455" y="2633"/>
                  <a:pt x="7442" y="2652"/>
                  <a:pt x="7422" y="2645"/>
                </a:cubicBezTo>
                <a:cubicBezTo>
                  <a:pt x="7428" y="2626"/>
                  <a:pt x="7454" y="2626"/>
                  <a:pt x="7474" y="2620"/>
                </a:cubicBezTo>
                <a:close/>
                <a:moveTo>
                  <a:pt x="6970" y="2614"/>
                </a:moveTo>
                <a:cubicBezTo>
                  <a:pt x="6970" y="2614"/>
                  <a:pt x="6970" y="2614"/>
                  <a:pt x="6989" y="2614"/>
                </a:cubicBezTo>
                <a:cubicBezTo>
                  <a:pt x="6996" y="2653"/>
                  <a:pt x="6951" y="2639"/>
                  <a:pt x="6957" y="2678"/>
                </a:cubicBezTo>
                <a:cubicBezTo>
                  <a:pt x="6944" y="2678"/>
                  <a:pt x="6944" y="2671"/>
                  <a:pt x="6931" y="2671"/>
                </a:cubicBezTo>
                <a:cubicBezTo>
                  <a:pt x="6925" y="2653"/>
                  <a:pt x="6957" y="2653"/>
                  <a:pt x="6937" y="2639"/>
                </a:cubicBezTo>
                <a:cubicBezTo>
                  <a:pt x="6944" y="2626"/>
                  <a:pt x="6976" y="2639"/>
                  <a:pt x="6970" y="2614"/>
                </a:cubicBezTo>
                <a:close/>
                <a:moveTo>
                  <a:pt x="7778" y="2595"/>
                </a:moveTo>
                <a:cubicBezTo>
                  <a:pt x="7798" y="2595"/>
                  <a:pt x="7813" y="2600"/>
                  <a:pt x="7810" y="2614"/>
                </a:cubicBezTo>
                <a:cubicBezTo>
                  <a:pt x="7790" y="2614"/>
                  <a:pt x="7816" y="2626"/>
                  <a:pt x="7810" y="2633"/>
                </a:cubicBezTo>
                <a:cubicBezTo>
                  <a:pt x="7778" y="2645"/>
                  <a:pt x="7764" y="2678"/>
                  <a:pt x="7751" y="2697"/>
                </a:cubicBezTo>
                <a:cubicBezTo>
                  <a:pt x="7751" y="2697"/>
                  <a:pt x="7751" y="2697"/>
                  <a:pt x="7713" y="2697"/>
                </a:cubicBezTo>
                <a:cubicBezTo>
                  <a:pt x="7700" y="2690"/>
                  <a:pt x="7719" y="2678"/>
                  <a:pt x="7706" y="2671"/>
                </a:cubicBezTo>
                <a:cubicBezTo>
                  <a:pt x="7674" y="2685"/>
                  <a:pt x="7642" y="2698"/>
                  <a:pt x="7616" y="2710"/>
                </a:cubicBezTo>
                <a:cubicBezTo>
                  <a:pt x="7616" y="2685"/>
                  <a:pt x="7693" y="2646"/>
                  <a:pt x="7694" y="2614"/>
                </a:cubicBezTo>
                <a:cubicBezTo>
                  <a:pt x="7716" y="2603"/>
                  <a:pt x="7752" y="2595"/>
                  <a:pt x="7778" y="2595"/>
                </a:cubicBezTo>
                <a:close/>
                <a:moveTo>
                  <a:pt x="8067" y="2590"/>
                </a:moveTo>
                <a:cubicBezTo>
                  <a:pt x="8070" y="2590"/>
                  <a:pt x="8063" y="2607"/>
                  <a:pt x="8048" y="2602"/>
                </a:cubicBezTo>
                <a:cubicBezTo>
                  <a:pt x="8042" y="2602"/>
                  <a:pt x="8036" y="2615"/>
                  <a:pt x="8042" y="2627"/>
                </a:cubicBezTo>
                <a:cubicBezTo>
                  <a:pt x="8016" y="2608"/>
                  <a:pt x="7997" y="2653"/>
                  <a:pt x="7970" y="2634"/>
                </a:cubicBezTo>
                <a:cubicBezTo>
                  <a:pt x="8003" y="2621"/>
                  <a:pt x="8029" y="2602"/>
                  <a:pt x="8061" y="2596"/>
                </a:cubicBezTo>
                <a:cubicBezTo>
                  <a:pt x="8064" y="2591"/>
                  <a:pt x="8067" y="2589"/>
                  <a:pt x="8067" y="2590"/>
                </a:cubicBezTo>
                <a:close/>
                <a:moveTo>
                  <a:pt x="7440" y="2575"/>
                </a:moveTo>
                <a:cubicBezTo>
                  <a:pt x="7444" y="2575"/>
                  <a:pt x="7448" y="2576"/>
                  <a:pt x="7453" y="2577"/>
                </a:cubicBezTo>
                <a:cubicBezTo>
                  <a:pt x="7453" y="2583"/>
                  <a:pt x="7447" y="2583"/>
                  <a:pt x="7440" y="2583"/>
                </a:cubicBezTo>
                <a:cubicBezTo>
                  <a:pt x="7440" y="2596"/>
                  <a:pt x="7466" y="2577"/>
                  <a:pt x="7460" y="2602"/>
                </a:cubicBezTo>
                <a:cubicBezTo>
                  <a:pt x="7441" y="2602"/>
                  <a:pt x="7428" y="2615"/>
                  <a:pt x="7409" y="2621"/>
                </a:cubicBezTo>
                <a:cubicBezTo>
                  <a:pt x="7396" y="2621"/>
                  <a:pt x="7409" y="2595"/>
                  <a:pt x="7408" y="2589"/>
                </a:cubicBezTo>
                <a:cubicBezTo>
                  <a:pt x="7418" y="2584"/>
                  <a:pt x="7424" y="2575"/>
                  <a:pt x="7440" y="2575"/>
                </a:cubicBezTo>
                <a:close/>
                <a:moveTo>
                  <a:pt x="7176" y="2556"/>
                </a:moveTo>
                <a:cubicBezTo>
                  <a:pt x="7169" y="2576"/>
                  <a:pt x="7188" y="2582"/>
                  <a:pt x="7176" y="2595"/>
                </a:cubicBezTo>
                <a:cubicBezTo>
                  <a:pt x="7163" y="2595"/>
                  <a:pt x="7169" y="2570"/>
                  <a:pt x="7169" y="2563"/>
                </a:cubicBezTo>
                <a:cubicBezTo>
                  <a:pt x="7169" y="2563"/>
                  <a:pt x="7169" y="2563"/>
                  <a:pt x="7157" y="2563"/>
                </a:cubicBezTo>
                <a:cubicBezTo>
                  <a:pt x="7157" y="2557"/>
                  <a:pt x="7170" y="2557"/>
                  <a:pt x="7176" y="2556"/>
                </a:cubicBezTo>
                <a:close/>
                <a:moveTo>
                  <a:pt x="7945" y="2557"/>
                </a:moveTo>
                <a:lnTo>
                  <a:pt x="7945" y="2551"/>
                </a:lnTo>
                <a:lnTo>
                  <a:pt x="7945" y="2557"/>
                </a:lnTo>
                <a:close/>
                <a:moveTo>
                  <a:pt x="7900" y="2506"/>
                </a:moveTo>
                <a:cubicBezTo>
                  <a:pt x="7906" y="2519"/>
                  <a:pt x="7919" y="2519"/>
                  <a:pt x="7939" y="2513"/>
                </a:cubicBezTo>
                <a:cubicBezTo>
                  <a:pt x="7939" y="2519"/>
                  <a:pt x="7939" y="2532"/>
                  <a:pt x="7945" y="2532"/>
                </a:cubicBezTo>
                <a:cubicBezTo>
                  <a:pt x="7945" y="2544"/>
                  <a:pt x="7919" y="2538"/>
                  <a:pt x="7919" y="2551"/>
                </a:cubicBezTo>
                <a:cubicBezTo>
                  <a:pt x="7919" y="2563"/>
                  <a:pt x="7939" y="2563"/>
                  <a:pt x="7945" y="2557"/>
                </a:cubicBezTo>
                <a:cubicBezTo>
                  <a:pt x="7939" y="2608"/>
                  <a:pt x="7874" y="2615"/>
                  <a:pt x="7841" y="2608"/>
                </a:cubicBezTo>
                <a:cubicBezTo>
                  <a:pt x="7841" y="2589"/>
                  <a:pt x="7861" y="2582"/>
                  <a:pt x="7861" y="2563"/>
                </a:cubicBezTo>
                <a:cubicBezTo>
                  <a:pt x="7861" y="2557"/>
                  <a:pt x="7854" y="2563"/>
                  <a:pt x="7841" y="2563"/>
                </a:cubicBezTo>
                <a:cubicBezTo>
                  <a:pt x="7841" y="2544"/>
                  <a:pt x="7855" y="2544"/>
                  <a:pt x="7868" y="2538"/>
                </a:cubicBezTo>
                <a:cubicBezTo>
                  <a:pt x="7816" y="2538"/>
                  <a:pt x="7880" y="2525"/>
                  <a:pt x="7900" y="2506"/>
                </a:cubicBezTo>
                <a:close/>
                <a:moveTo>
                  <a:pt x="6809" y="2473"/>
                </a:moveTo>
                <a:cubicBezTo>
                  <a:pt x="6789" y="2473"/>
                  <a:pt x="6789" y="2487"/>
                  <a:pt x="6770" y="2480"/>
                </a:cubicBezTo>
                <a:cubicBezTo>
                  <a:pt x="6770" y="2505"/>
                  <a:pt x="6809" y="2499"/>
                  <a:pt x="6809" y="2473"/>
                </a:cubicBezTo>
                <a:close/>
                <a:moveTo>
                  <a:pt x="7829" y="2467"/>
                </a:moveTo>
                <a:cubicBezTo>
                  <a:pt x="7855" y="2480"/>
                  <a:pt x="7868" y="2518"/>
                  <a:pt x="7829" y="2518"/>
                </a:cubicBezTo>
                <a:cubicBezTo>
                  <a:pt x="7829" y="2512"/>
                  <a:pt x="7835" y="2506"/>
                  <a:pt x="7829" y="2499"/>
                </a:cubicBezTo>
                <a:cubicBezTo>
                  <a:pt x="7809" y="2499"/>
                  <a:pt x="7803" y="2512"/>
                  <a:pt x="7770" y="2512"/>
                </a:cubicBezTo>
                <a:cubicBezTo>
                  <a:pt x="7796" y="2473"/>
                  <a:pt x="7823" y="2506"/>
                  <a:pt x="7829" y="2467"/>
                </a:cubicBezTo>
                <a:close/>
                <a:moveTo>
                  <a:pt x="8322" y="2466"/>
                </a:moveTo>
                <a:cubicBezTo>
                  <a:pt x="8326" y="2466"/>
                  <a:pt x="8297" y="2479"/>
                  <a:pt x="8281" y="2499"/>
                </a:cubicBezTo>
                <a:cubicBezTo>
                  <a:pt x="8229" y="2499"/>
                  <a:pt x="8197" y="2531"/>
                  <a:pt x="8184" y="2570"/>
                </a:cubicBezTo>
                <a:cubicBezTo>
                  <a:pt x="8133" y="2557"/>
                  <a:pt x="8113" y="2601"/>
                  <a:pt x="8081" y="2589"/>
                </a:cubicBezTo>
                <a:cubicBezTo>
                  <a:pt x="8093" y="2576"/>
                  <a:pt x="8093" y="2557"/>
                  <a:pt x="8119" y="2557"/>
                </a:cubicBezTo>
                <a:cubicBezTo>
                  <a:pt x="8127" y="2544"/>
                  <a:pt x="8107" y="2544"/>
                  <a:pt x="8107" y="2538"/>
                </a:cubicBezTo>
                <a:cubicBezTo>
                  <a:pt x="8153" y="2551"/>
                  <a:pt x="8281" y="2474"/>
                  <a:pt x="8314" y="2468"/>
                </a:cubicBezTo>
                <a:cubicBezTo>
                  <a:pt x="8319" y="2466"/>
                  <a:pt x="8321" y="2466"/>
                  <a:pt x="8322" y="2466"/>
                </a:cubicBezTo>
                <a:close/>
                <a:moveTo>
                  <a:pt x="7803" y="2448"/>
                </a:moveTo>
                <a:cubicBezTo>
                  <a:pt x="7783" y="2461"/>
                  <a:pt x="7757" y="2486"/>
                  <a:pt x="7744" y="2473"/>
                </a:cubicBezTo>
                <a:cubicBezTo>
                  <a:pt x="7770" y="2473"/>
                  <a:pt x="7777" y="2454"/>
                  <a:pt x="7803" y="2448"/>
                </a:cubicBezTo>
                <a:close/>
                <a:moveTo>
                  <a:pt x="7348" y="2440"/>
                </a:moveTo>
                <a:lnTo>
                  <a:pt x="7348" y="2441"/>
                </a:lnTo>
                <a:lnTo>
                  <a:pt x="7348" y="2441"/>
                </a:lnTo>
                <a:lnTo>
                  <a:pt x="7348" y="2440"/>
                </a:lnTo>
                <a:close/>
                <a:moveTo>
                  <a:pt x="7341" y="2439"/>
                </a:moveTo>
                <a:lnTo>
                  <a:pt x="7342" y="2441"/>
                </a:lnTo>
                <a:cubicBezTo>
                  <a:pt x="7332" y="2444"/>
                  <a:pt x="7335" y="2441"/>
                  <a:pt x="7340" y="2439"/>
                </a:cubicBezTo>
                <a:lnTo>
                  <a:pt x="7341" y="2439"/>
                </a:lnTo>
                <a:close/>
                <a:moveTo>
                  <a:pt x="7342" y="2427"/>
                </a:moveTo>
                <a:cubicBezTo>
                  <a:pt x="7346" y="2427"/>
                  <a:pt x="7350" y="2430"/>
                  <a:pt x="7349" y="2438"/>
                </a:cubicBezTo>
                <a:lnTo>
                  <a:pt x="7348" y="2440"/>
                </a:lnTo>
                <a:lnTo>
                  <a:pt x="7348" y="2440"/>
                </a:lnTo>
                <a:cubicBezTo>
                  <a:pt x="7347" y="2439"/>
                  <a:pt x="7345" y="2438"/>
                  <a:pt x="7344" y="2439"/>
                </a:cubicBezTo>
                <a:lnTo>
                  <a:pt x="7341" y="2439"/>
                </a:lnTo>
                <a:lnTo>
                  <a:pt x="7340" y="2438"/>
                </a:lnTo>
                <a:cubicBezTo>
                  <a:pt x="7336" y="2430"/>
                  <a:pt x="7339" y="2427"/>
                  <a:pt x="7342" y="2427"/>
                </a:cubicBezTo>
                <a:close/>
                <a:moveTo>
                  <a:pt x="7823" y="2389"/>
                </a:moveTo>
                <a:cubicBezTo>
                  <a:pt x="7835" y="2389"/>
                  <a:pt x="7845" y="2390"/>
                  <a:pt x="7849" y="2390"/>
                </a:cubicBezTo>
                <a:cubicBezTo>
                  <a:pt x="7841" y="2410"/>
                  <a:pt x="7810" y="2403"/>
                  <a:pt x="7809" y="2429"/>
                </a:cubicBezTo>
                <a:cubicBezTo>
                  <a:pt x="7809" y="2442"/>
                  <a:pt x="7829" y="2429"/>
                  <a:pt x="7835" y="2435"/>
                </a:cubicBezTo>
                <a:cubicBezTo>
                  <a:pt x="7835" y="2448"/>
                  <a:pt x="7823" y="2448"/>
                  <a:pt x="7803" y="2448"/>
                </a:cubicBezTo>
                <a:cubicBezTo>
                  <a:pt x="7796" y="2429"/>
                  <a:pt x="7778" y="2429"/>
                  <a:pt x="7758" y="2429"/>
                </a:cubicBezTo>
                <a:cubicBezTo>
                  <a:pt x="7763" y="2394"/>
                  <a:pt x="7798" y="2389"/>
                  <a:pt x="7823" y="2389"/>
                </a:cubicBezTo>
                <a:close/>
                <a:moveTo>
                  <a:pt x="7595" y="2362"/>
                </a:moveTo>
                <a:cubicBezTo>
                  <a:pt x="7603" y="2362"/>
                  <a:pt x="7610" y="2364"/>
                  <a:pt x="7616" y="2371"/>
                </a:cubicBezTo>
                <a:cubicBezTo>
                  <a:pt x="7571" y="2359"/>
                  <a:pt x="7557" y="2416"/>
                  <a:pt x="7506" y="2416"/>
                </a:cubicBezTo>
                <a:cubicBezTo>
                  <a:pt x="7526" y="2401"/>
                  <a:pt x="7566" y="2362"/>
                  <a:pt x="7595" y="2362"/>
                </a:cubicBezTo>
                <a:close/>
                <a:moveTo>
                  <a:pt x="7399" y="2344"/>
                </a:moveTo>
                <a:cubicBezTo>
                  <a:pt x="7388" y="2344"/>
                  <a:pt x="7383" y="2355"/>
                  <a:pt x="7383" y="2365"/>
                </a:cubicBezTo>
                <a:cubicBezTo>
                  <a:pt x="7402" y="2371"/>
                  <a:pt x="7409" y="2359"/>
                  <a:pt x="7409" y="2346"/>
                </a:cubicBezTo>
                <a:cubicBezTo>
                  <a:pt x="7405" y="2345"/>
                  <a:pt x="7402" y="2344"/>
                  <a:pt x="7399" y="2344"/>
                </a:cubicBezTo>
                <a:close/>
                <a:moveTo>
                  <a:pt x="7899" y="2340"/>
                </a:moveTo>
                <a:cubicBezTo>
                  <a:pt x="7919" y="2352"/>
                  <a:pt x="7938" y="2352"/>
                  <a:pt x="7958" y="2346"/>
                </a:cubicBezTo>
                <a:cubicBezTo>
                  <a:pt x="7945" y="2352"/>
                  <a:pt x="7932" y="2365"/>
                  <a:pt x="7913" y="2371"/>
                </a:cubicBezTo>
                <a:cubicBezTo>
                  <a:pt x="7919" y="2390"/>
                  <a:pt x="7932" y="2365"/>
                  <a:pt x="7951" y="2371"/>
                </a:cubicBezTo>
                <a:cubicBezTo>
                  <a:pt x="7932" y="2409"/>
                  <a:pt x="7900" y="2397"/>
                  <a:pt x="7874" y="2397"/>
                </a:cubicBezTo>
                <a:cubicBezTo>
                  <a:pt x="7874" y="2371"/>
                  <a:pt x="7900" y="2365"/>
                  <a:pt x="7899" y="2340"/>
                </a:cubicBezTo>
                <a:close/>
                <a:moveTo>
                  <a:pt x="7835" y="2249"/>
                </a:moveTo>
                <a:cubicBezTo>
                  <a:pt x="7839" y="2249"/>
                  <a:pt x="7843" y="2249"/>
                  <a:pt x="7848" y="2250"/>
                </a:cubicBezTo>
                <a:cubicBezTo>
                  <a:pt x="7803" y="2295"/>
                  <a:pt x="7777" y="2346"/>
                  <a:pt x="7693" y="2359"/>
                </a:cubicBezTo>
                <a:cubicBezTo>
                  <a:pt x="7706" y="2346"/>
                  <a:pt x="7700" y="2326"/>
                  <a:pt x="7693" y="2301"/>
                </a:cubicBezTo>
                <a:cubicBezTo>
                  <a:pt x="7747" y="2289"/>
                  <a:pt x="7773" y="2249"/>
                  <a:pt x="7835" y="2249"/>
                </a:cubicBezTo>
                <a:close/>
                <a:moveTo>
                  <a:pt x="7809" y="2148"/>
                </a:moveTo>
                <a:cubicBezTo>
                  <a:pt x="7803" y="2154"/>
                  <a:pt x="7803" y="2161"/>
                  <a:pt x="7803" y="2173"/>
                </a:cubicBezTo>
                <a:cubicBezTo>
                  <a:pt x="7764" y="2161"/>
                  <a:pt x="7745" y="2199"/>
                  <a:pt x="7699" y="2199"/>
                </a:cubicBezTo>
                <a:cubicBezTo>
                  <a:pt x="7718" y="2167"/>
                  <a:pt x="7764" y="2161"/>
                  <a:pt x="7809" y="2148"/>
                </a:cubicBezTo>
                <a:close/>
                <a:moveTo>
                  <a:pt x="7310" y="2146"/>
                </a:moveTo>
                <a:cubicBezTo>
                  <a:pt x="7318" y="2146"/>
                  <a:pt x="7328" y="2148"/>
                  <a:pt x="7338" y="2148"/>
                </a:cubicBezTo>
                <a:cubicBezTo>
                  <a:pt x="7338" y="2167"/>
                  <a:pt x="7306" y="2186"/>
                  <a:pt x="7286" y="2173"/>
                </a:cubicBezTo>
                <a:cubicBezTo>
                  <a:pt x="7286" y="2150"/>
                  <a:pt x="7296" y="2146"/>
                  <a:pt x="7310" y="2146"/>
                </a:cubicBezTo>
                <a:close/>
                <a:moveTo>
                  <a:pt x="6615" y="2124"/>
                </a:moveTo>
                <a:cubicBezTo>
                  <a:pt x="6582" y="2123"/>
                  <a:pt x="6549" y="2144"/>
                  <a:pt x="6543" y="2173"/>
                </a:cubicBezTo>
                <a:cubicBezTo>
                  <a:pt x="6582" y="2154"/>
                  <a:pt x="6627" y="2173"/>
                  <a:pt x="6647" y="2135"/>
                </a:cubicBezTo>
                <a:cubicBezTo>
                  <a:pt x="6637" y="2128"/>
                  <a:pt x="6626" y="2125"/>
                  <a:pt x="6615" y="2124"/>
                </a:cubicBezTo>
                <a:close/>
                <a:moveTo>
                  <a:pt x="7338" y="2090"/>
                </a:moveTo>
                <a:cubicBezTo>
                  <a:pt x="7326" y="2102"/>
                  <a:pt x="7312" y="2116"/>
                  <a:pt x="7306" y="2141"/>
                </a:cubicBezTo>
                <a:cubicBezTo>
                  <a:pt x="7274" y="2141"/>
                  <a:pt x="7306" y="2103"/>
                  <a:pt x="7280" y="2108"/>
                </a:cubicBezTo>
                <a:cubicBezTo>
                  <a:pt x="7293" y="2096"/>
                  <a:pt x="7306" y="2096"/>
                  <a:pt x="7338" y="2090"/>
                </a:cubicBezTo>
                <a:close/>
                <a:moveTo>
                  <a:pt x="7771" y="2071"/>
                </a:moveTo>
                <a:cubicBezTo>
                  <a:pt x="7751" y="2090"/>
                  <a:pt x="7733" y="2103"/>
                  <a:pt x="7700" y="2116"/>
                </a:cubicBezTo>
                <a:cubicBezTo>
                  <a:pt x="7693" y="2090"/>
                  <a:pt x="7751" y="2084"/>
                  <a:pt x="7771" y="2071"/>
                </a:cubicBezTo>
                <a:close/>
                <a:moveTo>
                  <a:pt x="769" y="2058"/>
                </a:moveTo>
                <a:cubicBezTo>
                  <a:pt x="749" y="2071"/>
                  <a:pt x="749" y="2090"/>
                  <a:pt x="718" y="2083"/>
                </a:cubicBezTo>
                <a:cubicBezTo>
                  <a:pt x="730" y="2064"/>
                  <a:pt x="743" y="2058"/>
                  <a:pt x="769" y="2058"/>
                </a:cubicBezTo>
                <a:close/>
                <a:moveTo>
                  <a:pt x="7501" y="2045"/>
                </a:moveTo>
                <a:cubicBezTo>
                  <a:pt x="7502" y="2045"/>
                  <a:pt x="7504" y="2045"/>
                  <a:pt x="7506" y="2045"/>
                </a:cubicBezTo>
                <a:cubicBezTo>
                  <a:pt x="7519" y="2090"/>
                  <a:pt x="7480" y="2135"/>
                  <a:pt x="7435" y="2135"/>
                </a:cubicBezTo>
                <a:cubicBezTo>
                  <a:pt x="7416" y="2104"/>
                  <a:pt x="7446" y="2043"/>
                  <a:pt x="7501" y="2045"/>
                </a:cubicBezTo>
                <a:close/>
                <a:moveTo>
                  <a:pt x="6892" y="2026"/>
                </a:moveTo>
                <a:cubicBezTo>
                  <a:pt x="6886" y="2039"/>
                  <a:pt x="6866" y="2033"/>
                  <a:pt x="6873" y="2052"/>
                </a:cubicBezTo>
                <a:cubicBezTo>
                  <a:pt x="6886" y="2058"/>
                  <a:pt x="6912" y="2039"/>
                  <a:pt x="6892" y="2026"/>
                </a:cubicBezTo>
                <a:close/>
                <a:moveTo>
                  <a:pt x="7345" y="2018"/>
                </a:moveTo>
                <a:cubicBezTo>
                  <a:pt x="7358" y="2018"/>
                  <a:pt x="7341" y="2050"/>
                  <a:pt x="7364" y="2039"/>
                </a:cubicBezTo>
                <a:cubicBezTo>
                  <a:pt x="7357" y="2064"/>
                  <a:pt x="7338" y="2039"/>
                  <a:pt x="7338" y="2020"/>
                </a:cubicBezTo>
                <a:cubicBezTo>
                  <a:pt x="7341" y="2018"/>
                  <a:pt x="7343" y="2018"/>
                  <a:pt x="7345" y="2018"/>
                </a:cubicBezTo>
                <a:close/>
                <a:moveTo>
                  <a:pt x="7351" y="1591"/>
                </a:moveTo>
                <a:cubicBezTo>
                  <a:pt x="7370" y="1591"/>
                  <a:pt x="7370" y="1610"/>
                  <a:pt x="7396" y="1604"/>
                </a:cubicBezTo>
                <a:cubicBezTo>
                  <a:pt x="7383" y="1610"/>
                  <a:pt x="7370" y="1617"/>
                  <a:pt x="7345" y="1610"/>
                </a:cubicBezTo>
                <a:cubicBezTo>
                  <a:pt x="7351" y="1610"/>
                  <a:pt x="7351" y="1598"/>
                  <a:pt x="7351" y="1591"/>
                </a:cubicBezTo>
                <a:close/>
                <a:moveTo>
                  <a:pt x="7409" y="1546"/>
                </a:moveTo>
                <a:cubicBezTo>
                  <a:pt x="7435" y="1546"/>
                  <a:pt x="7454" y="1559"/>
                  <a:pt x="7474" y="1572"/>
                </a:cubicBezTo>
                <a:cubicBezTo>
                  <a:pt x="7461" y="1585"/>
                  <a:pt x="7441" y="1591"/>
                  <a:pt x="7441" y="1610"/>
                </a:cubicBezTo>
                <a:cubicBezTo>
                  <a:pt x="7416" y="1604"/>
                  <a:pt x="7441" y="1598"/>
                  <a:pt x="7447" y="1585"/>
                </a:cubicBezTo>
                <a:cubicBezTo>
                  <a:pt x="7435" y="1591"/>
                  <a:pt x="7415" y="1578"/>
                  <a:pt x="7409" y="1546"/>
                </a:cubicBezTo>
                <a:close/>
                <a:moveTo>
                  <a:pt x="6854" y="1476"/>
                </a:moveTo>
                <a:cubicBezTo>
                  <a:pt x="6854" y="1483"/>
                  <a:pt x="6847" y="1489"/>
                  <a:pt x="6841" y="1495"/>
                </a:cubicBezTo>
                <a:cubicBezTo>
                  <a:pt x="6860" y="1515"/>
                  <a:pt x="6880" y="1482"/>
                  <a:pt x="6854" y="1476"/>
                </a:cubicBezTo>
                <a:close/>
                <a:moveTo>
                  <a:pt x="7281" y="1452"/>
                </a:moveTo>
                <a:cubicBezTo>
                  <a:pt x="7294" y="1458"/>
                  <a:pt x="7287" y="1471"/>
                  <a:pt x="7275" y="1464"/>
                </a:cubicBezTo>
                <a:cubicBezTo>
                  <a:pt x="7275" y="1471"/>
                  <a:pt x="7287" y="1496"/>
                  <a:pt x="7287" y="1483"/>
                </a:cubicBezTo>
                <a:cubicBezTo>
                  <a:pt x="7293" y="1483"/>
                  <a:pt x="7293" y="1496"/>
                  <a:pt x="7293" y="1508"/>
                </a:cubicBezTo>
                <a:cubicBezTo>
                  <a:pt x="7286" y="1508"/>
                  <a:pt x="7280" y="1508"/>
                  <a:pt x="7274" y="1515"/>
                </a:cubicBezTo>
                <a:cubicBezTo>
                  <a:pt x="7260" y="1508"/>
                  <a:pt x="7260" y="1489"/>
                  <a:pt x="7248" y="1489"/>
                </a:cubicBezTo>
                <a:cubicBezTo>
                  <a:pt x="7248" y="1476"/>
                  <a:pt x="7280" y="1496"/>
                  <a:pt x="7261" y="1477"/>
                </a:cubicBezTo>
                <a:cubicBezTo>
                  <a:pt x="7261" y="1464"/>
                  <a:pt x="7275" y="1464"/>
                  <a:pt x="7281" y="1452"/>
                </a:cubicBezTo>
                <a:close/>
                <a:moveTo>
                  <a:pt x="1369" y="1432"/>
                </a:moveTo>
                <a:cubicBezTo>
                  <a:pt x="1350" y="1438"/>
                  <a:pt x="1318" y="1457"/>
                  <a:pt x="1324" y="1463"/>
                </a:cubicBezTo>
                <a:cubicBezTo>
                  <a:pt x="1338" y="1451"/>
                  <a:pt x="1363" y="1451"/>
                  <a:pt x="1369" y="1432"/>
                </a:cubicBezTo>
                <a:close/>
                <a:moveTo>
                  <a:pt x="6362" y="1368"/>
                </a:moveTo>
                <a:cubicBezTo>
                  <a:pt x="6362" y="1399"/>
                  <a:pt x="6330" y="1387"/>
                  <a:pt x="6311" y="1393"/>
                </a:cubicBezTo>
                <a:cubicBezTo>
                  <a:pt x="6324" y="1380"/>
                  <a:pt x="6336" y="1368"/>
                  <a:pt x="6362" y="1368"/>
                </a:cubicBezTo>
                <a:close/>
                <a:moveTo>
                  <a:pt x="6543" y="1335"/>
                </a:moveTo>
                <a:cubicBezTo>
                  <a:pt x="6531" y="1362"/>
                  <a:pt x="6486" y="1380"/>
                  <a:pt x="6466" y="1374"/>
                </a:cubicBezTo>
                <a:cubicBezTo>
                  <a:pt x="6472" y="1342"/>
                  <a:pt x="6512" y="1342"/>
                  <a:pt x="6543" y="1335"/>
                </a:cubicBezTo>
                <a:close/>
                <a:moveTo>
                  <a:pt x="7351" y="1285"/>
                </a:moveTo>
                <a:cubicBezTo>
                  <a:pt x="7357" y="1317"/>
                  <a:pt x="7338" y="1355"/>
                  <a:pt x="7312" y="1367"/>
                </a:cubicBezTo>
                <a:cubicBezTo>
                  <a:pt x="7312" y="1367"/>
                  <a:pt x="7312" y="1367"/>
                  <a:pt x="7312" y="1354"/>
                </a:cubicBezTo>
                <a:cubicBezTo>
                  <a:pt x="7286" y="1362"/>
                  <a:pt x="7305" y="1380"/>
                  <a:pt x="7293" y="1393"/>
                </a:cubicBezTo>
                <a:cubicBezTo>
                  <a:pt x="7274" y="1399"/>
                  <a:pt x="7260" y="1387"/>
                  <a:pt x="7254" y="1380"/>
                </a:cubicBezTo>
                <a:cubicBezTo>
                  <a:pt x="7254" y="1324"/>
                  <a:pt x="7293" y="1298"/>
                  <a:pt x="7351" y="1285"/>
                </a:cubicBezTo>
                <a:close/>
                <a:moveTo>
                  <a:pt x="6608" y="1259"/>
                </a:moveTo>
                <a:cubicBezTo>
                  <a:pt x="6628" y="1278"/>
                  <a:pt x="6589" y="1278"/>
                  <a:pt x="6595" y="1297"/>
                </a:cubicBezTo>
                <a:cubicBezTo>
                  <a:pt x="6588" y="1297"/>
                  <a:pt x="6588" y="1290"/>
                  <a:pt x="6576" y="1290"/>
                </a:cubicBezTo>
                <a:cubicBezTo>
                  <a:pt x="6576" y="1272"/>
                  <a:pt x="6595" y="1272"/>
                  <a:pt x="6608" y="1259"/>
                </a:cubicBezTo>
                <a:close/>
                <a:moveTo>
                  <a:pt x="7164" y="1233"/>
                </a:moveTo>
                <a:cubicBezTo>
                  <a:pt x="7190" y="1240"/>
                  <a:pt x="7164" y="1253"/>
                  <a:pt x="7164" y="1272"/>
                </a:cubicBezTo>
                <a:cubicBezTo>
                  <a:pt x="7144" y="1272"/>
                  <a:pt x="7144" y="1259"/>
                  <a:pt x="7144" y="1240"/>
                </a:cubicBezTo>
                <a:cubicBezTo>
                  <a:pt x="7157" y="1240"/>
                  <a:pt x="7164" y="1240"/>
                  <a:pt x="7164" y="1233"/>
                </a:cubicBezTo>
                <a:close/>
                <a:moveTo>
                  <a:pt x="6724" y="1208"/>
                </a:moveTo>
                <a:cubicBezTo>
                  <a:pt x="6718" y="1227"/>
                  <a:pt x="6724" y="1246"/>
                  <a:pt x="6698" y="1253"/>
                </a:cubicBezTo>
                <a:cubicBezTo>
                  <a:pt x="6704" y="1233"/>
                  <a:pt x="6692" y="1214"/>
                  <a:pt x="6724" y="1208"/>
                </a:cubicBezTo>
                <a:close/>
                <a:moveTo>
                  <a:pt x="6801" y="1170"/>
                </a:moveTo>
                <a:cubicBezTo>
                  <a:pt x="6809" y="1176"/>
                  <a:pt x="6821" y="1176"/>
                  <a:pt x="6821" y="1195"/>
                </a:cubicBezTo>
                <a:cubicBezTo>
                  <a:pt x="6789" y="1195"/>
                  <a:pt x="6776" y="1214"/>
                  <a:pt x="6737" y="1208"/>
                </a:cubicBezTo>
                <a:cubicBezTo>
                  <a:pt x="6743" y="1182"/>
                  <a:pt x="6789" y="1189"/>
                  <a:pt x="6801" y="1170"/>
                </a:cubicBezTo>
                <a:close/>
                <a:moveTo>
                  <a:pt x="6036" y="1161"/>
                </a:moveTo>
                <a:cubicBezTo>
                  <a:pt x="5982" y="1162"/>
                  <a:pt x="5939" y="1200"/>
                  <a:pt x="5911" y="1234"/>
                </a:cubicBezTo>
                <a:cubicBezTo>
                  <a:pt x="5968" y="1215"/>
                  <a:pt x="6001" y="1170"/>
                  <a:pt x="6059" y="1163"/>
                </a:cubicBezTo>
                <a:cubicBezTo>
                  <a:pt x="6051" y="1162"/>
                  <a:pt x="6043" y="1161"/>
                  <a:pt x="6036" y="1161"/>
                </a:cubicBezTo>
                <a:close/>
                <a:moveTo>
                  <a:pt x="1693" y="1073"/>
                </a:moveTo>
                <a:cubicBezTo>
                  <a:pt x="1699" y="1099"/>
                  <a:pt x="1680" y="1106"/>
                  <a:pt x="1661" y="1112"/>
                </a:cubicBezTo>
                <a:cubicBezTo>
                  <a:pt x="1673" y="1099"/>
                  <a:pt x="1673" y="1073"/>
                  <a:pt x="1693" y="1073"/>
                </a:cubicBezTo>
                <a:close/>
                <a:moveTo>
                  <a:pt x="6943" y="1068"/>
                </a:moveTo>
                <a:cubicBezTo>
                  <a:pt x="6956" y="1067"/>
                  <a:pt x="6970" y="1073"/>
                  <a:pt x="6983" y="1087"/>
                </a:cubicBezTo>
                <a:cubicBezTo>
                  <a:pt x="6977" y="1093"/>
                  <a:pt x="6970" y="1099"/>
                  <a:pt x="6970" y="1112"/>
                </a:cubicBezTo>
                <a:cubicBezTo>
                  <a:pt x="6977" y="1131"/>
                  <a:pt x="6996" y="1112"/>
                  <a:pt x="7022" y="1112"/>
                </a:cubicBezTo>
                <a:cubicBezTo>
                  <a:pt x="7029" y="1138"/>
                  <a:pt x="7015" y="1144"/>
                  <a:pt x="7009" y="1157"/>
                </a:cubicBezTo>
                <a:cubicBezTo>
                  <a:pt x="6963" y="1163"/>
                  <a:pt x="6944" y="1182"/>
                  <a:pt x="6912" y="1182"/>
                </a:cubicBezTo>
                <a:cubicBezTo>
                  <a:pt x="6857" y="1147"/>
                  <a:pt x="6895" y="1070"/>
                  <a:pt x="6943" y="1068"/>
                </a:cubicBezTo>
                <a:close/>
                <a:moveTo>
                  <a:pt x="6421" y="1023"/>
                </a:moveTo>
                <a:cubicBezTo>
                  <a:pt x="6415" y="1061"/>
                  <a:pt x="6337" y="1080"/>
                  <a:pt x="6305" y="1112"/>
                </a:cubicBezTo>
                <a:cubicBezTo>
                  <a:pt x="6272" y="1087"/>
                  <a:pt x="6208" y="1118"/>
                  <a:pt x="6195" y="1157"/>
                </a:cubicBezTo>
                <a:cubicBezTo>
                  <a:pt x="6182" y="1151"/>
                  <a:pt x="6182" y="1137"/>
                  <a:pt x="6182" y="1125"/>
                </a:cubicBezTo>
                <a:cubicBezTo>
                  <a:pt x="6272" y="1099"/>
                  <a:pt x="6324" y="1029"/>
                  <a:pt x="6421" y="1023"/>
                </a:cubicBezTo>
                <a:close/>
                <a:moveTo>
                  <a:pt x="7404" y="1015"/>
                </a:moveTo>
                <a:cubicBezTo>
                  <a:pt x="7405" y="1015"/>
                  <a:pt x="7407" y="1015"/>
                  <a:pt x="7409" y="1016"/>
                </a:cubicBezTo>
                <a:cubicBezTo>
                  <a:pt x="7416" y="1016"/>
                  <a:pt x="7409" y="1023"/>
                  <a:pt x="7409" y="1022"/>
                </a:cubicBezTo>
                <a:cubicBezTo>
                  <a:pt x="7376" y="1022"/>
                  <a:pt x="7383" y="1054"/>
                  <a:pt x="7370" y="1067"/>
                </a:cubicBezTo>
                <a:cubicBezTo>
                  <a:pt x="7340" y="1049"/>
                  <a:pt x="7377" y="1014"/>
                  <a:pt x="7404" y="1015"/>
                </a:cubicBezTo>
                <a:close/>
                <a:moveTo>
                  <a:pt x="7558" y="997"/>
                </a:moveTo>
                <a:cubicBezTo>
                  <a:pt x="7564" y="1023"/>
                  <a:pt x="7526" y="1042"/>
                  <a:pt x="7564" y="1048"/>
                </a:cubicBezTo>
                <a:cubicBezTo>
                  <a:pt x="7545" y="1061"/>
                  <a:pt x="7545" y="1087"/>
                  <a:pt x="7526" y="1099"/>
                </a:cubicBezTo>
                <a:cubicBezTo>
                  <a:pt x="7493" y="1106"/>
                  <a:pt x="7493" y="1080"/>
                  <a:pt x="7474" y="1086"/>
                </a:cubicBezTo>
                <a:cubicBezTo>
                  <a:pt x="7487" y="1042"/>
                  <a:pt x="7513" y="1009"/>
                  <a:pt x="7558" y="997"/>
                </a:cubicBezTo>
                <a:close/>
                <a:moveTo>
                  <a:pt x="3947" y="997"/>
                </a:moveTo>
                <a:cubicBezTo>
                  <a:pt x="3940" y="1023"/>
                  <a:pt x="3922" y="1035"/>
                  <a:pt x="3902" y="1041"/>
                </a:cubicBezTo>
                <a:cubicBezTo>
                  <a:pt x="3895" y="1035"/>
                  <a:pt x="3895" y="1022"/>
                  <a:pt x="3895" y="1009"/>
                </a:cubicBezTo>
                <a:cubicBezTo>
                  <a:pt x="3908" y="997"/>
                  <a:pt x="3927" y="1003"/>
                  <a:pt x="3947" y="997"/>
                </a:cubicBezTo>
                <a:close/>
                <a:moveTo>
                  <a:pt x="6534" y="985"/>
                </a:moveTo>
                <a:cubicBezTo>
                  <a:pt x="6540" y="986"/>
                  <a:pt x="6545" y="987"/>
                  <a:pt x="6550" y="990"/>
                </a:cubicBezTo>
                <a:cubicBezTo>
                  <a:pt x="6537" y="1003"/>
                  <a:pt x="6518" y="1022"/>
                  <a:pt x="6492" y="1016"/>
                </a:cubicBezTo>
                <a:cubicBezTo>
                  <a:pt x="6497" y="997"/>
                  <a:pt x="6516" y="985"/>
                  <a:pt x="6534" y="985"/>
                </a:cubicBezTo>
                <a:close/>
                <a:moveTo>
                  <a:pt x="3074" y="980"/>
                </a:moveTo>
                <a:cubicBezTo>
                  <a:pt x="3065" y="979"/>
                  <a:pt x="3055" y="987"/>
                  <a:pt x="3055" y="1003"/>
                </a:cubicBezTo>
                <a:cubicBezTo>
                  <a:pt x="3062" y="1009"/>
                  <a:pt x="3075" y="1009"/>
                  <a:pt x="3088" y="1009"/>
                </a:cubicBezTo>
                <a:cubicBezTo>
                  <a:pt x="3091" y="990"/>
                  <a:pt x="3083" y="981"/>
                  <a:pt x="3074" y="980"/>
                </a:cubicBezTo>
                <a:close/>
                <a:moveTo>
                  <a:pt x="7521" y="969"/>
                </a:moveTo>
                <a:cubicBezTo>
                  <a:pt x="7530" y="969"/>
                  <a:pt x="7538" y="972"/>
                  <a:pt x="7545" y="978"/>
                </a:cubicBezTo>
                <a:cubicBezTo>
                  <a:pt x="7532" y="997"/>
                  <a:pt x="7493" y="1016"/>
                  <a:pt x="7480" y="997"/>
                </a:cubicBezTo>
                <a:cubicBezTo>
                  <a:pt x="7480" y="979"/>
                  <a:pt x="7501" y="968"/>
                  <a:pt x="7521" y="969"/>
                </a:cubicBezTo>
                <a:close/>
                <a:moveTo>
                  <a:pt x="3953" y="944"/>
                </a:moveTo>
                <a:cubicBezTo>
                  <a:pt x="3904" y="943"/>
                  <a:pt x="3879" y="991"/>
                  <a:pt x="3837" y="1023"/>
                </a:cubicBezTo>
                <a:cubicBezTo>
                  <a:pt x="3727" y="1112"/>
                  <a:pt x="3533" y="1163"/>
                  <a:pt x="3482" y="1285"/>
                </a:cubicBezTo>
                <a:cubicBezTo>
                  <a:pt x="3573" y="1272"/>
                  <a:pt x="3676" y="1253"/>
                  <a:pt x="3766" y="1221"/>
                </a:cubicBezTo>
                <a:cubicBezTo>
                  <a:pt x="3869" y="1170"/>
                  <a:pt x="3940" y="1080"/>
                  <a:pt x="4018" y="991"/>
                </a:cubicBezTo>
                <a:cubicBezTo>
                  <a:pt x="3998" y="984"/>
                  <a:pt x="3992" y="971"/>
                  <a:pt x="3992" y="953"/>
                </a:cubicBezTo>
                <a:cubicBezTo>
                  <a:pt x="3977" y="946"/>
                  <a:pt x="3965" y="944"/>
                  <a:pt x="3953" y="944"/>
                </a:cubicBezTo>
                <a:close/>
                <a:moveTo>
                  <a:pt x="5116" y="895"/>
                </a:moveTo>
                <a:cubicBezTo>
                  <a:pt x="5064" y="895"/>
                  <a:pt x="5045" y="959"/>
                  <a:pt x="5019" y="965"/>
                </a:cubicBezTo>
                <a:cubicBezTo>
                  <a:pt x="5052" y="953"/>
                  <a:pt x="5084" y="984"/>
                  <a:pt x="5116" y="965"/>
                </a:cubicBezTo>
                <a:cubicBezTo>
                  <a:pt x="5123" y="945"/>
                  <a:pt x="5135" y="908"/>
                  <a:pt x="5116" y="895"/>
                </a:cubicBezTo>
                <a:close/>
                <a:moveTo>
                  <a:pt x="6155" y="876"/>
                </a:moveTo>
                <a:cubicBezTo>
                  <a:pt x="6102" y="877"/>
                  <a:pt x="6069" y="906"/>
                  <a:pt x="6027" y="926"/>
                </a:cubicBezTo>
                <a:cubicBezTo>
                  <a:pt x="6047" y="953"/>
                  <a:pt x="6027" y="945"/>
                  <a:pt x="6021" y="971"/>
                </a:cubicBezTo>
                <a:cubicBezTo>
                  <a:pt x="6072" y="933"/>
                  <a:pt x="6143" y="952"/>
                  <a:pt x="6201" y="920"/>
                </a:cubicBezTo>
                <a:cubicBezTo>
                  <a:pt x="6201" y="907"/>
                  <a:pt x="6189" y="900"/>
                  <a:pt x="6195" y="881"/>
                </a:cubicBezTo>
                <a:cubicBezTo>
                  <a:pt x="6181" y="878"/>
                  <a:pt x="6167" y="876"/>
                  <a:pt x="6155" y="876"/>
                </a:cubicBezTo>
                <a:close/>
                <a:moveTo>
                  <a:pt x="8003" y="869"/>
                </a:moveTo>
                <a:cubicBezTo>
                  <a:pt x="8003" y="881"/>
                  <a:pt x="7997" y="881"/>
                  <a:pt x="7997" y="895"/>
                </a:cubicBezTo>
                <a:cubicBezTo>
                  <a:pt x="7958" y="901"/>
                  <a:pt x="7965" y="914"/>
                  <a:pt x="7926" y="920"/>
                </a:cubicBezTo>
                <a:cubicBezTo>
                  <a:pt x="7945" y="894"/>
                  <a:pt x="7977" y="888"/>
                  <a:pt x="8003" y="869"/>
                </a:cubicBezTo>
                <a:close/>
                <a:moveTo>
                  <a:pt x="2216" y="811"/>
                </a:moveTo>
                <a:cubicBezTo>
                  <a:pt x="2210" y="831"/>
                  <a:pt x="2197" y="850"/>
                  <a:pt x="2165" y="843"/>
                </a:cubicBezTo>
                <a:cubicBezTo>
                  <a:pt x="2171" y="824"/>
                  <a:pt x="2183" y="811"/>
                  <a:pt x="2216" y="811"/>
                </a:cubicBezTo>
                <a:close/>
                <a:moveTo>
                  <a:pt x="3589" y="759"/>
                </a:moveTo>
                <a:cubicBezTo>
                  <a:pt x="3594" y="760"/>
                  <a:pt x="3600" y="762"/>
                  <a:pt x="3605" y="767"/>
                </a:cubicBezTo>
                <a:cubicBezTo>
                  <a:pt x="3611" y="806"/>
                  <a:pt x="3573" y="806"/>
                  <a:pt x="3566" y="831"/>
                </a:cubicBezTo>
                <a:cubicBezTo>
                  <a:pt x="3528" y="814"/>
                  <a:pt x="3559" y="757"/>
                  <a:pt x="3589" y="759"/>
                </a:cubicBezTo>
                <a:close/>
                <a:moveTo>
                  <a:pt x="5775" y="647"/>
                </a:moveTo>
                <a:cubicBezTo>
                  <a:pt x="5749" y="647"/>
                  <a:pt x="5722" y="660"/>
                  <a:pt x="5717" y="683"/>
                </a:cubicBezTo>
                <a:cubicBezTo>
                  <a:pt x="5743" y="671"/>
                  <a:pt x="5775" y="664"/>
                  <a:pt x="5801" y="652"/>
                </a:cubicBezTo>
                <a:cubicBezTo>
                  <a:pt x="5793" y="649"/>
                  <a:pt x="5784" y="647"/>
                  <a:pt x="5775" y="647"/>
                </a:cubicBezTo>
                <a:close/>
                <a:moveTo>
                  <a:pt x="6589" y="645"/>
                </a:moveTo>
                <a:cubicBezTo>
                  <a:pt x="6582" y="658"/>
                  <a:pt x="6582" y="677"/>
                  <a:pt x="6563" y="671"/>
                </a:cubicBezTo>
                <a:cubicBezTo>
                  <a:pt x="6569" y="658"/>
                  <a:pt x="6569" y="645"/>
                  <a:pt x="6589" y="645"/>
                </a:cubicBezTo>
                <a:close/>
                <a:moveTo>
                  <a:pt x="5361" y="638"/>
                </a:moveTo>
                <a:cubicBezTo>
                  <a:pt x="5355" y="658"/>
                  <a:pt x="5342" y="677"/>
                  <a:pt x="5316" y="683"/>
                </a:cubicBezTo>
                <a:cubicBezTo>
                  <a:pt x="5316" y="671"/>
                  <a:pt x="5336" y="671"/>
                  <a:pt x="5342" y="664"/>
                </a:cubicBezTo>
                <a:cubicBezTo>
                  <a:pt x="5336" y="645"/>
                  <a:pt x="5310" y="664"/>
                  <a:pt x="5296" y="664"/>
                </a:cubicBezTo>
                <a:cubicBezTo>
                  <a:pt x="5303" y="638"/>
                  <a:pt x="5341" y="645"/>
                  <a:pt x="5361" y="638"/>
                </a:cubicBezTo>
                <a:close/>
                <a:moveTo>
                  <a:pt x="4722" y="549"/>
                </a:moveTo>
                <a:cubicBezTo>
                  <a:pt x="4722" y="569"/>
                  <a:pt x="4696" y="575"/>
                  <a:pt x="4690" y="562"/>
                </a:cubicBezTo>
                <a:cubicBezTo>
                  <a:pt x="4690" y="549"/>
                  <a:pt x="4703" y="549"/>
                  <a:pt x="4722" y="549"/>
                </a:cubicBezTo>
                <a:close/>
                <a:moveTo>
                  <a:pt x="6019" y="547"/>
                </a:moveTo>
                <a:cubicBezTo>
                  <a:pt x="6031" y="547"/>
                  <a:pt x="6029" y="559"/>
                  <a:pt x="5988" y="562"/>
                </a:cubicBezTo>
                <a:cubicBezTo>
                  <a:pt x="6000" y="550"/>
                  <a:pt x="6012" y="546"/>
                  <a:pt x="6019" y="547"/>
                </a:cubicBezTo>
                <a:close/>
                <a:moveTo>
                  <a:pt x="6336" y="472"/>
                </a:moveTo>
                <a:cubicBezTo>
                  <a:pt x="6339" y="472"/>
                  <a:pt x="6341" y="472"/>
                  <a:pt x="6343" y="472"/>
                </a:cubicBezTo>
                <a:cubicBezTo>
                  <a:pt x="6330" y="492"/>
                  <a:pt x="6305" y="505"/>
                  <a:pt x="6285" y="524"/>
                </a:cubicBezTo>
                <a:cubicBezTo>
                  <a:pt x="6279" y="499"/>
                  <a:pt x="6302" y="470"/>
                  <a:pt x="6336" y="472"/>
                </a:cubicBezTo>
                <a:close/>
                <a:moveTo>
                  <a:pt x="4661" y="402"/>
                </a:moveTo>
                <a:cubicBezTo>
                  <a:pt x="4629" y="446"/>
                  <a:pt x="4616" y="517"/>
                  <a:pt x="4571" y="549"/>
                </a:cubicBezTo>
                <a:cubicBezTo>
                  <a:pt x="4583" y="581"/>
                  <a:pt x="4602" y="549"/>
                  <a:pt x="4622" y="555"/>
                </a:cubicBezTo>
                <a:cubicBezTo>
                  <a:pt x="4674" y="568"/>
                  <a:pt x="4674" y="651"/>
                  <a:pt x="4713" y="690"/>
                </a:cubicBezTo>
                <a:cubicBezTo>
                  <a:pt x="4725" y="690"/>
                  <a:pt x="4745" y="683"/>
                  <a:pt x="4751" y="690"/>
                </a:cubicBezTo>
                <a:cubicBezTo>
                  <a:pt x="4790" y="773"/>
                  <a:pt x="4649" y="779"/>
                  <a:pt x="4629" y="836"/>
                </a:cubicBezTo>
                <a:cubicBezTo>
                  <a:pt x="4616" y="863"/>
                  <a:pt x="4616" y="952"/>
                  <a:pt x="4668" y="952"/>
                </a:cubicBezTo>
                <a:cubicBezTo>
                  <a:pt x="4675" y="1016"/>
                  <a:pt x="4700" y="1054"/>
                  <a:pt x="4726" y="1099"/>
                </a:cubicBezTo>
                <a:cubicBezTo>
                  <a:pt x="4842" y="1130"/>
                  <a:pt x="4907" y="1041"/>
                  <a:pt x="4978" y="990"/>
                </a:cubicBezTo>
                <a:cubicBezTo>
                  <a:pt x="4965" y="977"/>
                  <a:pt x="4939" y="977"/>
                  <a:pt x="4927" y="964"/>
                </a:cubicBezTo>
                <a:cubicBezTo>
                  <a:pt x="4907" y="978"/>
                  <a:pt x="4894" y="1003"/>
                  <a:pt x="4868" y="1009"/>
                </a:cubicBezTo>
                <a:cubicBezTo>
                  <a:pt x="4868" y="983"/>
                  <a:pt x="4849" y="983"/>
                  <a:pt x="4849" y="958"/>
                </a:cubicBezTo>
                <a:cubicBezTo>
                  <a:pt x="4887" y="945"/>
                  <a:pt x="4920" y="914"/>
                  <a:pt x="4971" y="933"/>
                </a:cubicBezTo>
                <a:cubicBezTo>
                  <a:pt x="5010" y="895"/>
                  <a:pt x="5048" y="863"/>
                  <a:pt x="5119" y="856"/>
                </a:cubicBezTo>
                <a:cubicBezTo>
                  <a:pt x="5132" y="856"/>
                  <a:pt x="5119" y="831"/>
                  <a:pt x="5132" y="831"/>
                </a:cubicBezTo>
                <a:cubicBezTo>
                  <a:pt x="5158" y="837"/>
                  <a:pt x="5197" y="837"/>
                  <a:pt x="5223" y="831"/>
                </a:cubicBezTo>
                <a:cubicBezTo>
                  <a:pt x="5217" y="805"/>
                  <a:pt x="5223" y="786"/>
                  <a:pt x="5243" y="773"/>
                </a:cubicBezTo>
                <a:cubicBezTo>
                  <a:pt x="5243" y="767"/>
                  <a:pt x="5223" y="786"/>
                  <a:pt x="5210" y="773"/>
                </a:cubicBezTo>
                <a:cubicBezTo>
                  <a:pt x="5210" y="767"/>
                  <a:pt x="5217" y="754"/>
                  <a:pt x="5230" y="754"/>
                </a:cubicBezTo>
                <a:cubicBezTo>
                  <a:pt x="5230" y="742"/>
                  <a:pt x="5210" y="735"/>
                  <a:pt x="5204" y="729"/>
                </a:cubicBezTo>
                <a:cubicBezTo>
                  <a:pt x="5152" y="768"/>
                  <a:pt x="5088" y="761"/>
                  <a:pt x="5029" y="787"/>
                </a:cubicBezTo>
                <a:cubicBezTo>
                  <a:pt x="5017" y="780"/>
                  <a:pt x="5042" y="768"/>
                  <a:pt x="5062" y="774"/>
                </a:cubicBezTo>
                <a:cubicBezTo>
                  <a:pt x="5094" y="704"/>
                  <a:pt x="5191" y="704"/>
                  <a:pt x="5262" y="679"/>
                </a:cubicBezTo>
                <a:cubicBezTo>
                  <a:pt x="5256" y="691"/>
                  <a:pt x="5275" y="705"/>
                  <a:pt x="5262" y="736"/>
                </a:cubicBezTo>
                <a:cubicBezTo>
                  <a:pt x="5269" y="755"/>
                  <a:pt x="5275" y="742"/>
                  <a:pt x="5295" y="742"/>
                </a:cubicBezTo>
                <a:cubicBezTo>
                  <a:pt x="5301" y="749"/>
                  <a:pt x="5282" y="768"/>
                  <a:pt x="5295" y="774"/>
                </a:cubicBezTo>
                <a:cubicBezTo>
                  <a:pt x="5327" y="774"/>
                  <a:pt x="5346" y="793"/>
                  <a:pt x="5366" y="780"/>
                </a:cubicBezTo>
                <a:cubicBezTo>
                  <a:pt x="5372" y="851"/>
                  <a:pt x="5450" y="812"/>
                  <a:pt x="5482" y="799"/>
                </a:cubicBezTo>
                <a:cubicBezTo>
                  <a:pt x="5482" y="799"/>
                  <a:pt x="5482" y="799"/>
                  <a:pt x="5482" y="761"/>
                </a:cubicBezTo>
                <a:cubicBezTo>
                  <a:pt x="5553" y="684"/>
                  <a:pt x="5585" y="569"/>
                  <a:pt x="5663" y="499"/>
                </a:cubicBezTo>
                <a:cubicBezTo>
                  <a:pt x="5689" y="480"/>
                  <a:pt x="5695" y="517"/>
                  <a:pt x="5721" y="499"/>
                </a:cubicBezTo>
                <a:cubicBezTo>
                  <a:pt x="5740" y="505"/>
                  <a:pt x="5701" y="511"/>
                  <a:pt x="5701" y="517"/>
                </a:cubicBezTo>
                <a:cubicBezTo>
                  <a:pt x="5720" y="524"/>
                  <a:pt x="5727" y="556"/>
                  <a:pt x="5746" y="562"/>
                </a:cubicBezTo>
                <a:cubicBezTo>
                  <a:pt x="5746" y="582"/>
                  <a:pt x="5708" y="595"/>
                  <a:pt x="5720" y="614"/>
                </a:cubicBezTo>
                <a:cubicBezTo>
                  <a:pt x="5798" y="626"/>
                  <a:pt x="5830" y="575"/>
                  <a:pt x="5901" y="562"/>
                </a:cubicBezTo>
                <a:cubicBezTo>
                  <a:pt x="5907" y="575"/>
                  <a:pt x="5936" y="581"/>
                  <a:pt x="5929" y="598"/>
                </a:cubicBezTo>
                <a:lnTo>
                  <a:pt x="5929" y="598"/>
                </a:lnTo>
                <a:lnTo>
                  <a:pt x="5928" y="599"/>
                </a:lnTo>
                <a:cubicBezTo>
                  <a:pt x="5928" y="600"/>
                  <a:pt x="5927" y="600"/>
                  <a:pt x="5927" y="601"/>
                </a:cubicBezTo>
                <a:lnTo>
                  <a:pt x="5929" y="598"/>
                </a:lnTo>
                <a:lnTo>
                  <a:pt x="5930" y="598"/>
                </a:lnTo>
                <a:cubicBezTo>
                  <a:pt x="5934" y="595"/>
                  <a:pt x="5942" y="595"/>
                  <a:pt x="5947" y="595"/>
                </a:cubicBezTo>
                <a:cubicBezTo>
                  <a:pt x="5960" y="595"/>
                  <a:pt x="5953" y="576"/>
                  <a:pt x="5960" y="570"/>
                </a:cubicBezTo>
                <a:cubicBezTo>
                  <a:pt x="5967" y="582"/>
                  <a:pt x="5973" y="621"/>
                  <a:pt x="5947" y="627"/>
                </a:cubicBezTo>
                <a:cubicBezTo>
                  <a:pt x="5966" y="634"/>
                  <a:pt x="5979" y="646"/>
                  <a:pt x="5998" y="652"/>
                </a:cubicBezTo>
                <a:cubicBezTo>
                  <a:pt x="6017" y="595"/>
                  <a:pt x="6056" y="556"/>
                  <a:pt x="6121" y="537"/>
                </a:cubicBezTo>
                <a:cubicBezTo>
                  <a:pt x="6133" y="551"/>
                  <a:pt x="6153" y="563"/>
                  <a:pt x="6166" y="576"/>
                </a:cubicBezTo>
                <a:cubicBezTo>
                  <a:pt x="6166" y="589"/>
                  <a:pt x="6146" y="589"/>
                  <a:pt x="6133" y="595"/>
                </a:cubicBezTo>
                <a:cubicBezTo>
                  <a:pt x="6127" y="582"/>
                  <a:pt x="6133" y="582"/>
                  <a:pt x="6140" y="576"/>
                </a:cubicBezTo>
                <a:cubicBezTo>
                  <a:pt x="6114" y="576"/>
                  <a:pt x="6095" y="582"/>
                  <a:pt x="6088" y="601"/>
                </a:cubicBezTo>
                <a:cubicBezTo>
                  <a:pt x="6101" y="621"/>
                  <a:pt x="6114" y="634"/>
                  <a:pt x="6133" y="646"/>
                </a:cubicBezTo>
                <a:cubicBezTo>
                  <a:pt x="6178" y="640"/>
                  <a:pt x="6224" y="627"/>
                  <a:pt x="6276" y="615"/>
                </a:cubicBezTo>
                <a:cubicBezTo>
                  <a:pt x="6289" y="607"/>
                  <a:pt x="6243" y="640"/>
                  <a:pt x="6231" y="646"/>
                </a:cubicBezTo>
                <a:cubicBezTo>
                  <a:pt x="6250" y="678"/>
                  <a:pt x="6309" y="640"/>
                  <a:pt x="6321" y="652"/>
                </a:cubicBezTo>
                <a:cubicBezTo>
                  <a:pt x="6308" y="671"/>
                  <a:pt x="6308" y="665"/>
                  <a:pt x="6334" y="678"/>
                </a:cubicBezTo>
                <a:cubicBezTo>
                  <a:pt x="6321" y="735"/>
                  <a:pt x="6217" y="703"/>
                  <a:pt x="6204" y="754"/>
                </a:cubicBezTo>
                <a:cubicBezTo>
                  <a:pt x="6276" y="773"/>
                  <a:pt x="6328" y="716"/>
                  <a:pt x="6405" y="716"/>
                </a:cubicBezTo>
                <a:cubicBezTo>
                  <a:pt x="6418" y="729"/>
                  <a:pt x="6399" y="748"/>
                  <a:pt x="6411" y="761"/>
                </a:cubicBezTo>
                <a:cubicBezTo>
                  <a:pt x="6418" y="773"/>
                  <a:pt x="6443" y="761"/>
                  <a:pt x="6463" y="767"/>
                </a:cubicBezTo>
                <a:cubicBezTo>
                  <a:pt x="6463" y="780"/>
                  <a:pt x="6443" y="773"/>
                  <a:pt x="6443" y="792"/>
                </a:cubicBezTo>
                <a:cubicBezTo>
                  <a:pt x="6475" y="780"/>
                  <a:pt x="6534" y="773"/>
                  <a:pt x="6508" y="728"/>
                </a:cubicBezTo>
                <a:cubicBezTo>
                  <a:pt x="6527" y="716"/>
                  <a:pt x="6553" y="709"/>
                  <a:pt x="6572" y="716"/>
                </a:cubicBezTo>
                <a:cubicBezTo>
                  <a:pt x="6572" y="722"/>
                  <a:pt x="6566" y="728"/>
                  <a:pt x="6566" y="735"/>
                </a:cubicBezTo>
                <a:cubicBezTo>
                  <a:pt x="6599" y="728"/>
                  <a:pt x="6617" y="741"/>
                  <a:pt x="6637" y="747"/>
                </a:cubicBezTo>
                <a:cubicBezTo>
                  <a:pt x="6625" y="754"/>
                  <a:pt x="6617" y="760"/>
                  <a:pt x="6605" y="773"/>
                </a:cubicBezTo>
                <a:cubicBezTo>
                  <a:pt x="6624" y="810"/>
                  <a:pt x="6682" y="798"/>
                  <a:pt x="6727" y="785"/>
                </a:cubicBezTo>
                <a:cubicBezTo>
                  <a:pt x="6714" y="804"/>
                  <a:pt x="6681" y="829"/>
                  <a:pt x="6708" y="868"/>
                </a:cubicBezTo>
                <a:cubicBezTo>
                  <a:pt x="6675" y="912"/>
                  <a:pt x="6649" y="964"/>
                  <a:pt x="6572" y="964"/>
                </a:cubicBezTo>
                <a:cubicBezTo>
                  <a:pt x="6578" y="951"/>
                  <a:pt x="6598" y="964"/>
                  <a:pt x="6598" y="945"/>
                </a:cubicBezTo>
                <a:cubicBezTo>
                  <a:pt x="6553" y="925"/>
                  <a:pt x="6527" y="976"/>
                  <a:pt x="6488" y="976"/>
                </a:cubicBezTo>
                <a:cubicBezTo>
                  <a:pt x="6508" y="956"/>
                  <a:pt x="6475" y="944"/>
                  <a:pt x="6475" y="925"/>
                </a:cubicBezTo>
                <a:cubicBezTo>
                  <a:pt x="6488" y="893"/>
                  <a:pt x="6501" y="867"/>
                  <a:pt x="6520" y="842"/>
                </a:cubicBezTo>
                <a:cubicBezTo>
                  <a:pt x="6418" y="816"/>
                  <a:pt x="6463" y="964"/>
                  <a:pt x="6398" y="989"/>
                </a:cubicBezTo>
                <a:cubicBezTo>
                  <a:pt x="6353" y="951"/>
                  <a:pt x="6288" y="983"/>
                  <a:pt x="6282" y="1028"/>
                </a:cubicBezTo>
                <a:cubicBezTo>
                  <a:pt x="6172" y="1021"/>
                  <a:pt x="6172" y="1137"/>
                  <a:pt x="6069" y="1155"/>
                </a:cubicBezTo>
                <a:cubicBezTo>
                  <a:pt x="6082" y="1168"/>
                  <a:pt x="6107" y="1149"/>
                  <a:pt x="6133" y="1155"/>
                </a:cubicBezTo>
                <a:cubicBezTo>
                  <a:pt x="6114" y="1175"/>
                  <a:pt x="6075" y="1168"/>
                  <a:pt x="6075" y="1207"/>
                </a:cubicBezTo>
                <a:cubicBezTo>
                  <a:pt x="6146" y="1213"/>
                  <a:pt x="6211" y="1168"/>
                  <a:pt x="6262" y="1137"/>
                </a:cubicBezTo>
                <a:cubicBezTo>
                  <a:pt x="6242" y="1181"/>
                  <a:pt x="6178" y="1181"/>
                  <a:pt x="6165" y="1232"/>
                </a:cubicBezTo>
                <a:cubicBezTo>
                  <a:pt x="6178" y="1264"/>
                  <a:pt x="6197" y="1283"/>
                  <a:pt x="6236" y="1290"/>
                </a:cubicBezTo>
                <a:cubicBezTo>
                  <a:pt x="6301" y="1232"/>
                  <a:pt x="6411" y="1219"/>
                  <a:pt x="6488" y="1181"/>
                </a:cubicBezTo>
                <a:cubicBezTo>
                  <a:pt x="6475" y="1193"/>
                  <a:pt x="6462" y="1200"/>
                  <a:pt x="6449" y="1212"/>
                </a:cubicBezTo>
                <a:cubicBezTo>
                  <a:pt x="6540" y="1193"/>
                  <a:pt x="6598" y="1103"/>
                  <a:pt x="6701" y="1078"/>
                </a:cubicBezTo>
                <a:cubicBezTo>
                  <a:pt x="6656" y="1142"/>
                  <a:pt x="6604" y="1200"/>
                  <a:pt x="6527" y="1231"/>
                </a:cubicBezTo>
                <a:cubicBezTo>
                  <a:pt x="6533" y="1250"/>
                  <a:pt x="6527" y="1244"/>
                  <a:pt x="6520" y="1263"/>
                </a:cubicBezTo>
                <a:cubicBezTo>
                  <a:pt x="6520" y="1269"/>
                  <a:pt x="6540" y="1263"/>
                  <a:pt x="6540" y="1275"/>
                </a:cubicBezTo>
                <a:cubicBezTo>
                  <a:pt x="6540" y="1275"/>
                  <a:pt x="6540" y="1275"/>
                  <a:pt x="6540" y="1294"/>
                </a:cubicBezTo>
                <a:cubicBezTo>
                  <a:pt x="6515" y="1301"/>
                  <a:pt x="6515" y="1282"/>
                  <a:pt x="6495" y="1275"/>
                </a:cubicBezTo>
                <a:cubicBezTo>
                  <a:pt x="6508" y="1269"/>
                  <a:pt x="6501" y="1250"/>
                  <a:pt x="6508" y="1244"/>
                </a:cubicBezTo>
                <a:cubicBezTo>
                  <a:pt x="6482" y="1218"/>
                  <a:pt x="6463" y="1263"/>
                  <a:pt x="6430" y="1263"/>
                </a:cubicBezTo>
                <a:cubicBezTo>
                  <a:pt x="6418" y="1250"/>
                  <a:pt x="6437" y="1244"/>
                  <a:pt x="6424" y="1231"/>
                </a:cubicBezTo>
                <a:cubicBezTo>
                  <a:pt x="6405" y="1264"/>
                  <a:pt x="6347" y="1250"/>
                  <a:pt x="6340" y="1295"/>
                </a:cubicBezTo>
                <a:cubicBezTo>
                  <a:pt x="6308" y="1282"/>
                  <a:pt x="6282" y="1295"/>
                  <a:pt x="6269" y="1320"/>
                </a:cubicBezTo>
                <a:cubicBezTo>
                  <a:pt x="6276" y="1328"/>
                  <a:pt x="6282" y="1340"/>
                  <a:pt x="6282" y="1359"/>
                </a:cubicBezTo>
                <a:cubicBezTo>
                  <a:pt x="6257" y="1359"/>
                  <a:pt x="6250" y="1385"/>
                  <a:pt x="6231" y="1404"/>
                </a:cubicBezTo>
                <a:cubicBezTo>
                  <a:pt x="6231" y="1410"/>
                  <a:pt x="6237" y="1410"/>
                  <a:pt x="6237" y="1417"/>
                </a:cubicBezTo>
                <a:cubicBezTo>
                  <a:pt x="6268" y="1423"/>
                  <a:pt x="6262" y="1392"/>
                  <a:pt x="6288" y="1398"/>
                </a:cubicBezTo>
                <a:cubicBezTo>
                  <a:pt x="6301" y="1418"/>
                  <a:pt x="6288" y="1418"/>
                  <a:pt x="6288" y="1443"/>
                </a:cubicBezTo>
                <a:cubicBezTo>
                  <a:pt x="6359" y="1437"/>
                  <a:pt x="6385" y="1385"/>
                  <a:pt x="6443" y="1385"/>
                </a:cubicBezTo>
                <a:cubicBezTo>
                  <a:pt x="6456" y="1398"/>
                  <a:pt x="6443" y="1404"/>
                  <a:pt x="6443" y="1417"/>
                </a:cubicBezTo>
                <a:cubicBezTo>
                  <a:pt x="6501" y="1410"/>
                  <a:pt x="6553" y="1403"/>
                  <a:pt x="6585" y="1372"/>
                </a:cubicBezTo>
                <a:cubicBezTo>
                  <a:pt x="6624" y="1347"/>
                  <a:pt x="6636" y="1289"/>
                  <a:pt x="6701" y="1283"/>
                </a:cubicBezTo>
                <a:cubicBezTo>
                  <a:pt x="6695" y="1295"/>
                  <a:pt x="6689" y="1295"/>
                  <a:pt x="6689" y="1302"/>
                </a:cubicBezTo>
                <a:cubicBezTo>
                  <a:pt x="6708" y="1333"/>
                  <a:pt x="6766" y="1289"/>
                  <a:pt x="6792" y="1302"/>
                </a:cubicBezTo>
                <a:cubicBezTo>
                  <a:pt x="6779" y="1372"/>
                  <a:pt x="6766" y="1353"/>
                  <a:pt x="6734" y="1417"/>
                </a:cubicBezTo>
                <a:cubicBezTo>
                  <a:pt x="6740" y="1423"/>
                  <a:pt x="6760" y="1423"/>
                  <a:pt x="6760" y="1442"/>
                </a:cubicBezTo>
                <a:cubicBezTo>
                  <a:pt x="6779" y="1436"/>
                  <a:pt x="6779" y="1410"/>
                  <a:pt x="6798" y="1410"/>
                </a:cubicBezTo>
                <a:cubicBezTo>
                  <a:pt x="6786" y="1424"/>
                  <a:pt x="6772" y="1443"/>
                  <a:pt x="6766" y="1456"/>
                </a:cubicBezTo>
                <a:cubicBezTo>
                  <a:pt x="6805" y="1474"/>
                  <a:pt x="6863" y="1456"/>
                  <a:pt x="6895" y="1443"/>
                </a:cubicBezTo>
                <a:cubicBezTo>
                  <a:pt x="6889" y="1410"/>
                  <a:pt x="6869" y="1404"/>
                  <a:pt x="6857" y="1379"/>
                </a:cubicBezTo>
                <a:cubicBezTo>
                  <a:pt x="6883" y="1315"/>
                  <a:pt x="6960" y="1315"/>
                  <a:pt x="7031" y="1309"/>
                </a:cubicBezTo>
                <a:cubicBezTo>
                  <a:pt x="7025" y="1321"/>
                  <a:pt x="7012" y="1328"/>
                  <a:pt x="6999" y="1334"/>
                </a:cubicBezTo>
                <a:cubicBezTo>
                  <a:pt x="7006" y="1354"/>
                  <a:pt x="7012" y="1366"/>
                  <a:pt x="7019" y="1379"/>
                </a:cubicBezTo>
                <a:cubicBezTo>
                  <a:pt x="7057" y="1373"/>
                  <a:pt x="7070" y="1379"/>
                  <a:pt x="7102" y="1385"/>
                </a:cubicBezTo>
                <a:cubicBezTo>
                  <a:pt x="7090" y="1436"/>
                  <a:pt x="7064" y="1493"/>
                  <a:pt x="7031" y="1538"/>
                </a:cubicBezTo>
                <a:cubicBezTo>
                  <a:pt x="6999" y="1545"/>
                  <a:pt x="6993" y="1570"/>
                  <a:pt x="6993" y="1609"/>
                </a:cubicBezTo>
                <a:cubicBezTo>
                  <a:pt x="7024" y="1628"/>
                  <a:pt x="7083" y="1590"/>
                  <a:pt x="7115" y="1577"/>
                </a:cubicBezTo>
                <a:cubicBezTo>
                  <a:pt x="7102" y="1571"/>
                  <a:pt x="7108" y="1546"/>
                  <a:pt x="7095" y="1546"/>
                </a:cubicBezTo>
                <a:cubicBezTo>
                  <a:pt x="7154" y="1482"/>
                  <a:pt x="7257" y="1546"/>
                  <a:pt x="7335" y="1527"/>
                </a:cubicBezTo>
                <a:cubicBezTo>
                  <a:pt x="7316" y="1572"/>
                  <a:pt x="7271" y="1591"/>
                  <a:pt x="7251" y="1629"/>
                </a:cubicBezTo>
                <a:cubicBezTo>
                  <a:pt x="7276" y="1629"/>
                  <a:pt x="7276" y="1661"/>
                  <a:pt x="7302" y="1661"/>
                </a:cubicBezTo>
                <a:cubicBezTo>
                  <a:pt x="7302" y="1699"/>
                  <a:pt x="7276" y="1718"/>
                  <a:pt x="7237" y="1744"/>
                </a:cubicBezTo>
                <a:cubicBezTo>
                  <a:pt x="7237" y="1750"/>
                  <a:pt x="7244" y="1750"/>
                  <a:pt x="7244" y="1756"/>
                </a:cubicBezTo>
                <a:cubicBezTo>
                  <a:pt x="7237" y="1763"/>
                  <a:pt x="7270" y="1763"/>
                  <a:pt x="7270" y="1756"/>
                </a:cubicBezTo>
                <a:cubicBezTo>
                  <a:pt x="7276" y="1763"/>
                  <a:pt x="7276" y="1782"/>
                  <a:pt x="7276" y="1788"/>
                </a:cubicBezTo>
                <a:cubicBezTo>
                  <a:pt x="7263" y="1794"/>
                  <a:pt x="7244" y="1801"/>
                  <a:pt x="7244" y="1775"/>
                </a:cubicBezTo>
                <a:cubicBezTo>
                  <a:pt x="7192" y="1788"/>
                  <a:pt x="7154" y="1814"/>
                  <a:pt x="7121" y="1839"/>
                </a:cubicBezTo>
                <a:cubicBezTo>
                  <a:pt x="7134" y="1852"/>
                  <a:pt x="7134" y="1839"/>
                  <a:pt x="7160" y="1839"/>
                </a:cubicBezTo>
                <a:cubicBezTo>
                  <a:pt x="7121" y="1871"/>
                  <a:pt x="7095" y="1916"/>
                  <a:pt x="7044" y="1928"/>
                </a:cubicBezTo>
                <a:cubicBezTo>
                  <a:pt x="7038" y="1948"/>
                  <a:pt x="7038" y="1942"/>
                  <a:pt x="7038" y="1967"/>
                </a:cubicBezTo>
                <a:cubicBezTo>
                  <a:pt x="7024" y="1961"/>
                  <a:pt x="7024" y="1948"/>
                  <a:pt x="7012" y="1942"/>
                </a:cubicBezTo>
                <a:cubicBezTo>
                  <a:pt x="6966" y="1961"/>
                  <a:pt x="6934" y="1986"/>
                  <a:pt x="6914" y="2025"/>
                </a:cubicBezTo>
                <a:cubicBezTo>
                  <a:pt x="6934" y="2037"/>
                  <a:pt x="6953" y="2037"/>
                  <a:pt x="6985" y="2044"/>
                </a:cubicBezTo>
                <a:cubicBezTo>
                  <a:pt x="7030" y="2037"/>
                  <a:pt x="7076" y="1960"/>
                  <a:pt x="7121" y="2005"/>
                </a:cubicBezTo>
                <a:cubicBezTo>
                  <a:pt x="7134" y="1980"/>
                  <a:pt x="7153" y="1980"/>
                  <a:pt x="7173" y="1973"/>
                </a:cubicBezTo>
                <a:cubicBezTo>
                  <a:pt x="7185" y="1973"/>
                  <a:pt x="7205" y="1948"/>
                  <a:pt x="7211" y="1942"/>
                </a:cubicBezTo>
                <a:cubicBezTo>
                  <a:pt x="7224" y="1942"/>
                  <a:pt x="7360" y="1973"/>
                  <a:pt x="7360" y="1973"/>
                </a:cubicBezTo>
                <a:cubicBezTo>
                  <a:pt x="7379" y="1967"/>
                  <a:pt x="7391" y="1928"/>
                  <a:pt x="7411" y="1922"/>
                </a:cubicBezTo>
                <a:cubicBezTo>
                  <a:pt x="7457" y="1897"/>
                  <a:pt x="7489" y="1916"/>
                  <a:pt x="7541" y="1897"/>
                </a:cubicBezTo>
                <a:cubicBezTo>
                  <a:pt x="7541" y="1942"/>
                  <a:pt x="7470" y="1897"/>
                  <a:pt x="7482" y="1967"/>
                </a:cubicBezTo>
                <a:cubicBezTo>
                  <a:pt x="7444" y="1993"/>
                  <a:pt x="7411" y="2012"/>
                  <a:pt x="7353" y="2012"/>
                </a:cubicBezTo>
                <a:cubicBezTo>
                  <a:pt x="7359" y="2000"/>
                  <a:pt x="7385" y="2000"/>
                  <a:pt x="7391" y="1987"/>
                </a:cubicBezTo>
                <a:cubicBezTo>
                  <a:pt x="7359" y="1968"/>
                  <a:pt x="7269" y="2018"/>
                  <a:pt x="7275" y="2063"/>
                </a:cubicBezTo>
                <a:cubicBezTo>
                  <a:pt x="7237" y="2082"/>
                  <a:pt x="7204" y="2102"/>
                  <a:pt x="7172" y="2121"/>
                </a:cubicBezTo>
                <a:cubicBezTo>
                  <a:pt x="7166" y="2141"/>
                  <a:pt x="7178" y="2141"/>
                  <a:pt x="7178" y="2160"/>
                </a:cubicBezTo>
                <a:cubicBezTo>
                  <a:pt x="7217" y="2153"/>
                  <a:pt x="7217" y="2185"/>
                  <a:pt x="7249" y="2191"/>
                </a:cubicBezTo>
                <a:cubicBezTo>
                  <a:pt x="7249" y="2211"/>
                  <a:pt x="7243" y="2230"/>
                  <a:pt x="7275" y="2236"/>
                </a:cubicBezTo>
                <a:cubicBezTo>
                  <a:pt x="7263" y="2274"/>
                  <a:pt x="7237" y="2300"/>
                  <a:pt x="7198" y="2313"/>
                </a:cubicBezTo>
                <a:cubicBezTo>
                  <a:pt x="7178" y="2313"/>
                  <a:pt x="7185" y="2288"/>
                  <a:pt x="7166" y="2288"/>
                </a:cubicBezTo>
                <a:cubicBezTo>
                  <a:pt x="7133" y="2294"/>
                  <a:pt x="7121" y="2313"/>
                  <a:pt x="7094" y="2319"/>
                </a:cubicBezTo>
                <a:cubicBezTo>
                  <a:pt x="7102" y="2338"/>
                  <a:pt x="7102" y="2338"/>
                  <a:pt x="7082" y="2351"/>
                </a:cubicBezTo>
                <a:cubicBezTo>
                  <a:pt x="7088" y="2357"/>
                  <a:pt x="7101" y="2351"/>
                  <a:pt x="7094" y="2370"/>
                </a:cubicBezTo>
                <a:cubicBezTo>
                  <a:pt x="7069" y="2376"/>
                  <a:pt x="7062" y="2389"/>
                  <a:pt x="7049" y="2401"/>
                </a:cubicBezTo>
                <a:cubicBezTo>
                  <a:pt x="6953" y="2356"/>
                  <a:pt x="6907" y="2446"/>
                  <a:pt x="6856" y="2491"/>
                </a:cubicBezTo>
                <a:cubicBezTo>
                  <a:pt x="6881" y="2498"/>
                  <a:pt x="6856" y="2510"/>
                  <a:pt x="6869" y="2529"/>
                </a:cubicBezTo>
                <a:cubicBezTo>
                  <a:pt x="6907" y="2491"/>
                  <a:pt x="6998" y="2510"/>
                  <a:pt x="6998" y="2446"/>
                </a:cubicBezTo>
                <a:cubicBezTo>
                  <a:pt x="7063" y="2421"/>
                  <a:pt x="7134" y="2427"/>
                  <a:pt x="7179" y="2364"/>
                </a:cubicBezTo>
                <a:cubicBezTo>
                  <a:pt x="7237" y="2389"/>
                  <a:pt x="7295" y="2312"/>
                  <a:pt x="7360" y="2293"/>
                </a:cubicBezTo>
                <a:cubicBezTo>
                  <a:pt x="7372" y="2300"/>
                  <a:pt x="7366" y="2326"/>
                  <a:pt x="7366" y="2338"/>
                </a:cubicBezTo>
                <a:cubicBezTo>
                  <a:pt x="7398" y="2338"/>
                  <a:pt x="7405" y="2319"/>
                  <a:pt x="7425" y="2307"/>
                </a:cubicBezTo>
                <a:cubicBezTo>
                  <a:pt x="7438" y="2313"/>
                  <a:pt x="7444" y="2319"/>
                  <a:pt x="7451" y="2319"/>
                </a:cubicBezTo>
                <a:cubicBezTo>
                  <a:pt x="7463" y="2293"/>
                  <a:pt x="7522" y="2274"/>
                  <a:pt x="7528" y="2281"/>
                </a:cubicBezTo>
                <a:cubicBezTo>
                  <a:pt x="7535" y="2293"/>
                  <a:pt x="7489" y="2319"/>
                  <a:pt x="7477" y="2338"/>
                </a:cubicBezTo>
                <a:cubicBezTo>
                  <a:pt x="7477" y="2357"/>
                  <a:pt x="7489" y="2338"/>
                  <a:pt x="7509" y="2345"/>
                </a:cubicBezTo>
                <a:cubicBezTo>
                  <a:pt x="7464" y="2370"/>
                  <a:pt x="7496" y="2396"/>
                  <a:pt x="7458" y="2421"/>
                </a:cubicBezTo>
                <a:cubicBezTo>
                  <a:pt x="7458" y="2427"/>
                  <a:pt x="7471" y="2427"/>
                  <a:pt x="7484" y="2427"/>
                </a:cubicBezTo>
                <a:cubicBezTo>
                  <a:pt x="7432" y="2460"/>
                  <a:pt x="7413" y="2518"/>
                  <a:pt x="7348" y="2530"/>
                </a:cubicBezTo>
                <a:cubicBezTo>
                  <a:pt x="7361" y="2543"/>
                  <a:pt x="7394" y="2511"/>
                  <a:pt x="7406" y="2530"/>
                </a:cubicBezTo>
                <a:cubicBezTo>
                  <a:pt x="7387" y="2544"/>
                  <a:pt x="7355" y="2581"/>
                  <a:pt x="7335" y="2575"/>
                </a:cubicBezTo>
                <a:cubicBezTo>
                  <a:pt x="7329" y="2555"/>
                  <a:pt x="7348" y="2555"/>
                  <a:pt x="7342" y="2536"/>
                </a:cubicBezTo>
                <a:cubicBezTo>
                  <a:pt x="7342" y="2524"/>
                  <a:pt x="7335" y="2555"/>
                  <a:pt x="7316" y="2543"/>
                </a:cubicBezTo>
                <a:cubicBezTo>
                  <a:pt x="7309" y="2524"/>
                  <a:pt x="7335" y="2524"/>
                  <a:pt x="7342" y="2511"/>
                </a:cubicBezTo>
                <a:cubicBezTo>
                  <a:pt x="7335" y="2499"/>
                  <a:pt x="7316" y="2492"/>
                  <a:pt x="7316" y="2511"/>
                </a:cubicBezTo>
                <a:cubicBezTo>
                  <a:pt x="7309" y="2492"/>
                  <a:pt x="7342" y="2473"/>
                  <a:pt x="7348" y="2447"/>
                </a:cubicBezTo>
                <a:cubicBezTo>
                  <a:pt x="7349" y="2445"/>
                  <a:pt x="7349" y="2443"/>
                  <a:pt x="7349" y="2442"/>
                </a:cubicBezTo>
                <a:lnTo>
                  <a:pt x="7348" y="2441"/>
                </a:lnTo>
                <a:lnTo>
                  <a:pt x="7351" y="2439"/>
                </a:lnTo>
                <a:cubicBezTo>
                  <a:pt x="7377" y="2414"/>
                  <a:pt x="7329" y="2408"/>
                  <a:pt x="7342" y="2396"/>
                </a:cubicBezTo>
                <a:cubicBezTo>
                  <a:pt x="7290" y="2402"/>
                  <a:pt x="7245" y="2428"/>
                  <a:pt x="7212" y="2460"/>
                </a:cubicBezTo>
                <a:cubicBezTo>
                  <a:pt x="7212" y="2466"/>
                  <a:pt x="7218" y="2466"/>
                  <a:pt x="7218" y="2473"/>
                </a:cubicBezTo>
                <a:cubicBezTo>
                  <a:pt x="7237" y="2473"/>
                  <a:pt x="7250" y="2460"/>
                  <a:pt x="7270" y="2460"/>
                </a:cubicBezTo>
                <a:cubicBezTo>
                  <a:pt x="7245" y="2479"/>
                  <a:pt x="7218" y="2491"/>
                  <a:pt x="7225" y="2536"/>
                </a:cubicBezTo>
                <a:cubicBezTo>
                  <a:pt x="7199" y="2536"/>
                  <a:pt x="7193" y="2543"/>
                  <a:pt x="7173" y="2543"/>
                </a:cubicBezTo>
                <a:cubicBezTo>
                  <a:pt x="7180" y="2536"/>
                  <a:pt x="7173" y="2530"/>
                  <a:pt x="7167" y="2524"/>
                </a:cubicBezTo>
                <a:cubicBezTo>
                  <a:pt x="7141" y="2536"/>
                  <a:pt x="7128" y="2569"/>
                  <a:pt x="7096" y="2581"/>
                </a:cubicBezTo>
                <a:cubicBezTo>
                  <a:pt x="7083" y="2575"/>
                  <a:pt x="7089" y="2556"/>
                  <a:pt x="7076" y="2550"/>
                </a:cubicBezTo>
                <a:cubicBezTo>
                  <a:pt x="7102" y="2518"/>
                  <a:pt x="7141" y="2537"/>
                  <a:pt x="7147" y="2499"/>
                </a:cubicBezTo>
                <a:cubicBezTo>
                  <a:pt x="7108" y="2511"/>
                  <a:pt x="7069" y="2518"/>
                  <a:pt x="7057" y="2556"/>
                </a:cubicBezTo>
                <a:cubicBezTo>
                  <a:pt x="7005" y="2550"/>
                  <a:pt x="6973" y="2608"/>
                  <a:pt x="6934" y="2620"/>
                </a:cubicBezTo>
                <a:cubicBezTo>
                  <a:pt x="6831" y="2633"/>
                  <a:pt x="6741" y="2690"/>
                  <a:pt x="6670" y="2748"/>
                </a:cubicBezTo>
                <a:cubicBezTo>
                  <a:pt x="6676" y="2735"/>
                  <a:pt x="6689" y="2735"/>
                  <a:pt x="6676" y="2723"/>
                </a:cubicBezTo>
                <a:cubicBezTo>
                  <a:pt x="6579" y="2761"/>
                  <a:pt x="6509" y="2806"/>
                  <a:pt x="6418" y="2838"/>
                </a:cubicBezTo>
                <a:cubicBezTo>
                  <a:pt x="6398" y="2852"/>
                  <a:pt x="6385" y="2864"/>
                  <a:pt x="6385" y="2877"/>
                </a:cubicBezTo>
                <a:cubicBezTo>
                  <a:pt x="6347" y="2851"/>
                  <a:pt x="6334" y="2947"/>
                  <a:pt x="6302" y="2960"/>
                </a:cubicBezTo>
                <a:cubicBezTo>
                  <a:pt x="6308" y="2979"/>
                  <a:pt x="6321" y="2960"/>
                  <a:pt x="6334" y="2960"/>
                </a:cubicBezTo>
                <a:cubicBezTo>
                  <a:pt x="6334" y="2960"/>
                  <a:pt x="6334" y="2960"/>
                  <a:pt x="6334" y="2985"/>
                </a:cubicBezTo>
                <a:cubicBezTo>
                  <a:pt x="6354" y="2972"/>
                  <a:pt x="6347" y="2998"/>
                  <a:pt x="6366" y="2998"/>
                </a:cubicBezTo>
                <a:cubicBezTo>
                  <a:pt x="6411" y="2998"/>
                  <a:pt x="6418" y="2946"/>
                  <a:pt x="6444" y="2915"/>
                </a:cubicBezTo>
                <a:cubicBezTo>
                  <a:pt x="6450" y="2921"/>
                  <a:pt x="6450" y="2934"/>
                  <a:pt x="6437" y="2946"/>
                </a:cubicBezTo>
                <a:cubicBezTo>
                  <a:pt x="6457" y="2965"/>
                  <a:pt x="6464" y="2927"/>
                  <a:pt x="6496" y="2940"/>
                </a:cubicBezTo>
                <a:cubicBezTo>
                  <a:pt x="6464" y="2998"/>
                  <a:pt x="6380" y="2991"/>
                  <a:pt x="6347" y="3043"/>
                </a:cubicBezTo>
                <a:cubicBezTo>
                  <a:pt x="6340" y="3043"/>
                  <a:pt x="6334" y="3036"/>
                  <a:pt x="6328" y="3036"/>
                </a:cubicBezTo>
                <a:cubicBezTo>
                  <a:pt x="6308" y="3074"/>
                  <a:pt x="6302" y="3158"/>
                  <a:pt x="6257" y="3183"/>
                </a:cubicBezTo>
                <a:cubicBezTo>
                  <a:pt x="6276" y="3209"/>
                  <a:pt x="6314" y="3177"/>
                  <a:pt x="6334" y="3164"/>
                </a:cubicBezTo>
                <a:cubicBezTo>
                  <a:pt x="6334" y="3138"/>
                  <a:pt x="6314" y="3138"/>
                  <a:pt x="6314" y="3113"/>
                </a:cubicBezTo>
                <a:cubicBezTo>
                  <a:pt x="6347" y="3107"/>
                  <a:pt x="6373" y="3088"/>
                  <a:pt x="6373" y="3043"/>
                </a:cubicBezTo>
                <a:cubicBezTo>
                  <a:pt x="6398" y="3024"/>
                  <a:pt x="6430" y="3030"/>
                  <a:pt x="6456" y="3011"/>
                </a:cubicBezTo>
                <a:cubicBezTo>
                  <a:pt x="6489" y="3043"/>
                  <a:pt x="6437" y="3062"/>
                  <a:pt x="6424" y="3088"/>
                </a:cubicBezTo>
                <a:cubicBezTo>
                  <a:pt x="6418" y="3088"/>
                  <a:pt x="6424" y="3100"/>
                  <a:pt x="6430" y="3107"/>
                </a:cubicBezTo>
                <a:cubicBezTo>
                  <a:pt x="6424" y="3107"/>
                  <a:pt x="6418" y="3107"/>
                  <a:pt x="6418" y="3107"/>
                </a:cubicBezTo>
                <a:cubicBezTo>
                  <a:pt x="6430" y="3113"/>
                  <a:pt x="6430" y="3107"/>
                  <a:pt x="6430" y="3107"/>
                </a:cubicBezTo>
                <a:cubicBezTo>
                  <a:pt x="6489" y="3100"/>
                  <a:pt x="6540" y="2998"/>
                  <a:pt x="6605" y="3043"/>
                </a:cubicBezTo>
                <a:cubicBezTo>
                  <a:pt x="6644" y="3043"/>
                  <a:pt x="6663" y="3017"/>
                  <a:pt x="6696" y="3004"/>
                </a:cubicBezTo>
                <a:cubicBezTo>
                  <a:pt x="6696" y="2978"/>
                  <a:pt x="6689" y="2984"/>
                  <a:pt x="6696" y="2965"/>
                </a:cubicBezTo>
                <a:cubicBezTo>
                  <a:pt x="6715" y="2959"/>
                  <a:pt x="6734" y="2953"/>
                  <a:pt x="6747" y="2934"/>
                </a:cubicBezTo>
                <a:cubicBezTo>
                  <a:pt x="6767" y="2946"/>
                  <a:pt x="6722" y="2946"/>
                  <a:pt x="6734" y="2965"/>
                </a:cubicBezTo>
                <a:cubicBezTo>
                  <a:pt x="6767" y="2972"/>
                  <a:pt x="6805" y="2953"/>
                  <a:pt x="6832" y="2940"/>
                </a:cubicBezTo>
                <a:cubicBezTo>
                  <a:pt x="6844" y="2946"/>
                  <a:pt x="6805" y="2953"/>
                  <a:pt x="6805" y="2965"/>
                </a:cubicBezTo>
                <a:cubicBezTo>
                  <a:pt x="6845" y="2965"/>
                  <a:pt x="6858" y="2934"/>
                  <a:pt x="6896" y="2940"/>
                </a:cubicBezTo>
                <a:cubicBezTo>
                  <a:pt x="6851" y="2985"/>
                  <a:pt x="6748" y="3004"/>
                  <a:pt x="6780" y="3080"/>
                </a:cubicBezTo>
                <a:cubicBezTo>
                  <a:pt x="6825" y="3068"/>
                  <a:pt x="6838" y="3004"/>
                  <a:pt x="6896" y="3023"/>
                </a:cubicBezTo>
                <a:cubicBezTo>
                  <a:pt x="6858" y="3035"/>
                  <a:pt x="6941" y="3068"/>
                  <a:pt x="6890" y="3080"/>
                </a:cubicBezTo>
                <a:cubicBezTo>
                  <a:pt x="6935" y="3099"/>
                  <a:pt x="6967" y="3054"/>
                  <a:pt x="7000" y="3042"/>
                </a:cubicBezTo>
                <a:cubicBezTo>
                  <a:pt x="7007" y="2991"/>
                  <a:pt x="6993" y="3004"/>
                  <a:pt x="6987" y="2953"/>
                </a:cubicBezTo>
                <a:cubicBezTo>
                  <a:pt x="7026" y="2984"/>
                  <a:pt x="7072" y="2933"/>
                  <a:pt x="7117" y="2914"/>
                </a:cubicBezTo>
                <a:cubicBezTo>
                  <a:pt x="7104" y="2940"/>
                  <a:pt x="7065" y="2991"/>
                  <a:pt x="7039" y="3017"/>
                </a:cubicBezTo>
                <a:cubicBezTo>
                  <a:pt x="7046" y="3023"/>
                  <a:pt x="7084" y="3017"/>
                  <a:pt x="7084" y="3004"/>
                </a:cubicBezTo>
                <a:cubicBezTo>
                  <a:pt x="7091" y="3024"/>
                  <a:pt x="7098" y="3036"/>
                  <a:pt x="7078" y="3055"/>
                </a:cubicBezTo>
                <a:cubicBezTo>
                  <a:pt x="7091" y="3068"/>
                  <a:pt x="7117" y="3049"/>
                  <a:pt x="7129" y="3068"/>
                </a:cubicBezTo>
                <a:cubicBezTo>
                  <a:pt x="7117" y="3100"/>
                  <a:pt x="7033" y="3119"/>
                  <a:pt x="7007" y="3107"/>
                </a:cubicBezTo>
                <a:cubicBezTo>
                  <a:pt x="6877" y="3145"/>
                  <a:pt x="6774" y="3183"/>
                  <a:pt x="6696" y="3286"/>
                </a:cubicBezTo>
                <a:cubicBezTo>
                  <a:pt x="6768" y="3343"/>
                  <a:pt x="6813" y="3209"/>
                  <a:pt x="6890" y="3222"/>
                </a:cubicBezTo>
                <a:cubicBezTo>
                  <a:pt x="6903" y="3216"/>
                  <a:pt x="6903" y="3190"/>
                  <a:pt x="6929" y="3190"/>
                </a:cubicBezTo>
                <a:cubicBezTo>
                  <a:pt x="6929" y="3184"/>
                  <a:pt x="6922" y="3178"/>
                  <a:pt x="6916" y="3178"/>
                </a:cubicBezTo>
                <a:cubicBezTo>
                  <a:pt x="6916" y="3152"/>
                  <a:pt x="6948" y="3164"/>
                  <a:pt x="6948" y="3139"/>
                </a:cubicBezTo>
                <a:cubicBezTo>
                  <a:pt x="6961" y="3158"/>
                  <a:pt x="6981" y="3152"/>
                  <a:pt x="6981" y="3126"/>
                </a:cubicBezTo>
                <a:cubicBezTo>
                  <a:pt x="6994" y="3126"/>
                  <a:pt x="7000" y="3139"/>
                  <a:pt x="7000" y="3145"/>
                </a:cubicBezTo>
                <a:cubicBezTo>
                  <a:pt x="7065" y="3139"/>
                  <a:pt x="7110" y="3100"/>
                  <a:pt x="7181" y="3075"/>
                </a:cubicBezTo>
                <a:cubicBezTo>
                  <a:pt x="7169" y="3095"/>
                  <a:pt x="7136" y="3088"/>
                  <a:pt x="7136" y="3114"/>
                </a:cubicBezTo>
                <a:cubicBezTo>
                  <a:pt x="7085" y="3133"/>
                  <a:pt x="7040" y="3152"/>
                  <a:pt x="7014" y="3197"/>
                </a:cubicBezTo>
                <a:lnTo>
                  <a:pt x="7020" y="3203"/>
                </a:lnTo>
                <a:cubicBezTo>
                  <a:pt x="7046" y="3203"/>
                  <a:pt x="7059" y="3183"/>
                  <a:pt x="7065" y="3164"/>
                </a:cubicBezTo>
                <a:cubicBezTo>
                  <a:pt x="7072" y="3164"/>
                  <a:pt x="7072" y="3177"/>
                  <a:pt x="7072" y="3183"/>
                </a:cubicBezTo>
                <a:cubicBezTo>
                  <a:pt x="7117" y="3157"/>
                  <a:pt x="7149" y="3183"/>
                  <a:pt x="7188" y="3144"/>
                </a:cubicBezTo>
                <a:cubicBezTo>
                  <a:pt x="7174" y="3137"/>
                  <a:pt x="7155" y="3131"/>
                  <a:pt x="7162" y="3106"/>
                </a:cubicBezTo>
                <a:cubicBezTo>
                  <a:pt x="7187" y="3106"/>
                  <a:pt x="7193" y="3093"/>
                  <a:pt x="7213" y="3099"/>
                </a:cubicBezTo>
                <a:cubicBezTo>
                  <a:pt x="7213" y="3106"/>
                  <a:pt x="7207" y="3112"/>
                  <a:pt x="7200" y="3118"/>
                </a:cubicBezTo>
                <a:cubicBezTo>
                  <a:pt x="7219" y="3099"/>
                  <a:pt x="7245" y="3125"/>
                  <a:pt x="7252" y="3099"/>
                </a:cubicBezTo>
                <a:cubicBezTo>
                  <a:pt x="7258" y="3099"/>
                  <a:pt x="7252" y="3106"/>
                  <a:pt x="7252" y="3112"/>
                </a:cubicBezTo>
                <a:cubicBezTo>
                  <a:pt x="7271" y="3112"/>
                  <a:pt x="7278" y="3099"/>
                  <a:pt x="7284" y="3087"/>
                </a:cubicBezTo>
                <a:cubicBezTo>
                  <a:pt x="7278" y="3074"/>
                  <a:pt x="7258" y="3080"/>
                  <a:pt x="7252" y="3068"/>
                </a:cubicBezTo>
                <a:cubicBezTo>
                  <a:pt x="7245" y="3055"/>
                  <a:pt x="7252" y="3043"/>
                  <a:pt x="7258" y="3036"/>
                </a:cubicBezTo>
                <a:cubicBezTo>
                  <a:pt x="7245" y="3017"/>
                  <a:pt x="7238" y="3049"/>
                  <a:pt x="7226" y="3043"/>
                </a:cubicBezTo>
                <a:cubicBezTo>
                  <a:pt x="7226" y="3036"/>
                  <a:pt x="7238" y="3030"/>
                  <a:pt x="7232" y="3030"/>
                </a:cubicBezTo>
                <a:cubicBezTo>
                  <a:pt x="7251" y="3024"/>
                  <a:pt x="7257" y="3011"/>
                  <a:pt x="7283" y="3005"/>
                </a:cubicBezTo>
                <a:cubicBezTo>
                  <a:pt x="7283" y="3005"/>
                  <a:pt x="7283" y="3005"/>
                  <a:pt x="7283" y="3030"/>
                </a:cubicBezTo>
                <a:cubicBezTo>
                  <a:pt x="7316" y="3005"/>
                  <a:pt x="7335" y="2934"/>
                  <a:pt x="7399" y="2941"/>
                </a:cubicBezTo>
                <a:cubicBezTo>
                  <a:pt x="7399" y="2966"/>
                  <a:pt x="7322" y="2960"/>
                  <a:pt x="7328" y="3005"/>
                </a:cubicBezTo>
                <a:cubicBezTo>
                  <a:pt x="7354" y="2998"/>
                  <a:pt x="7361" y="2992"/>
                  <a:pt x="7393" y="2998"/>
                </a:cubicBezTo>
                <a:cubicBezTo>
                  <a:pt x="7367" y="3011"/>
                  <a:pt x="7367" y="3031"/>
                  <a:pt x="7367" y="3050"/>
                </a:cubicBezTo>
                <a:cubicBezTo>
                  <a:pt x="7373" y="3056"/>
                  <a:pt x="7406" y="3069"/>
                  <a:pt x="7412" y="3056"/>
                </a:cubicBezTo>
                <a:cubicBezTo>
                  <a:pt x="7425" y="3062"/>
                  <a:pt x="7412" y="3088"/>
                  <a:pt x="7412" y="3101"/>
                </a:cubicBezTo>
                <a:cubicBezTo>
                  <a:pt x="7412" y="3107"/>
                  <a:pt x="7432" y="3107"/>
                  <a:pt x="7432" y="3120"/>
                </a:cubicBezTo>
                <a:cubicBezTo>
                  <a:pt x="7451" y="3126"/>
                  <a:pt x="7444" y="3107"/>
                  <a:pt x="7470" y="3114"/>
                </a:cubicBezTo>
                <a:cubicBezTo>
                  <a:pt x="7496" y="3139"/>
                  <a:pt x="7490" y="3203"/>
                  <a:pt x="7541" y="3203"/>
                </a:cubicBezTo>
                <a:cubicBezTo>
                  <a:pt x="7535" y="3229"/>
                  <a:pt x="7535" y="3229"/>
                  <a:pt x="7548" y="3254"/>
                </a:cubicBezTo>
                <a:cubicBezTo>
                  <a:pt x="7560" y="3254"/>
                  <a:pt x="7560" y="3235"/>
                  <a:pt x="7580" y="3242"/>
                </a:cubicBezTo>
                <a:cubicBezTo>
                  <a:pt x="7594" y="3209"/>
                  <a:pt x="7619" y="3190"/>
                  <a:pt x="7645" y="3178"/>
                </a:cubicBezTo>
                <a:cubicBezTo>
                  <a:pt x="7619" y="3158"/>
                  <a:pt x="7606" y="3197"/>
                  <a:pt x="7580" y="3203"/>
                </a:cubicBezTo>
                <a:cubicBezTo>
                  <a:pt x="7574" y="3183"/>
                  <a:pt x="7619" y="3177"/>
                  <a:pt x="7619" y="3158"/>
                </a:cubicBezTo>
                <a:cubicBezTo>
                  <a:pt x="7625" y="3145"/>
                  <a:pt x="7625" y="3126"/>
                  <a:pt x="7612" y="3126"/>
                </a:cubicBezTo>
                <a:cubicBezTo>
                  <a:pt x="7632" y="3126"/>
                  <a:pt x="7632" y="3100"/>
                  <a:pt x="7639" y="3088"/>
                </a:cubicBezTo>
                <a:cubicBezTo>
                  <a:pt x="7658" y="3094"/>
                  <a:pt x="7652" y="3113"/>
                  <a:pt x="7665" y="3119"/>
                </a:cubicBezTo>
                <a:cubicBezTo>
                  <a:pt x="7684" y="3119"/>
                  <a:pt x="7697" y="3107"/>
                  <a:pt x="7710" y="3100"/>
                </a:cubicBezTo>
                <a:cubicBezTo>
                  <a:pt x="7716" y="3100"/>
                  <a:pt x="7716" y="3107"/>
                  <a:pt x="7716" y="3113"/>
                </a:cubicBezTo>
                <a:cubicBezTo>
                  <a:pt x="7748" y="3119"/>
                  <a:pt x="7755" y="3094"/>
                  <a:pt x="7781" y="3094"/>
                </a:cubicBezTo>
                <a:cubicBezTo>
                  <a:pt x="7748" y="3132"/>
                  <a:pt x="7703" y="3158"/>
                  <a:pt x="7651" y="3177"/>
                </a:cubicBezTo>
                <a:cubicBezTo>
                  <a:pt x="7651" y="3177"/>
                  <a:pt x="7651" y="3177"/>
                  <a:pt x="7651" y="3216"/>
                </a:cubicBezTo>
                <a:cubicBezTo>
                  <a:pt x="7676" y="3216"/>
                  <a:pt x="7676" y="3197"/>
                  <a:pt x="7703" y="3203"/>
                </a:cubicBezTo>
                <a:cubicBezTo>
                  <a:pt x="7722" y="3234"/>
                  <a:pt x="7748" y="3222"/>
                  <a:pt x="7774" y="3216"/>
                </a:cubicBezTo>
                <a:cubicBezTo>
                  <a:pt x="7780" y="3184"/>
                  <a:pt x="7754" y="3177"/>
                  <a:pt x="7754" y="3145"/>
                </a:cubicBezTo>
                <a:cubicBezTo>
                  <a:pt x="7766" y="3139"/>
                  <a:pt x="7785" y="3133"/>
                  <a:pt x="7805" y="3126"/>
                </a:cubicBezTo>
                <a:cubicBezTo>
                  <a:pt x="7818" y="3114"/>
                  <a:pt x="7831" y="3069"/>
                  <a:pt x="7811" y="3056"/>
                </a:cubicBezTo>
                <a:cubicBezTo>
                  <a:pt x="7876" y="3017"/>
                  <a:pt x="7947" y="2953"/>
                  <a:pt x="8025" y="2947"/>
                </a:cubicBezTo>
                <a:cubicBezTo>
                  <a:pt x="8031" y="2947"/>
                  <a:pt x="8037" y="2941"/>
                  <a:pt x="8037" y="2928"/>
                </a:cubicBezTo>
                <a:cubicBezTo>
                  <a:pt x="8056" y="2934"/>
                  <a:pt x="8095" y="2903"/>
                  <a:pt x="8115" y="2928"/>
                </a:cubicBezTo>
                <a:cubicBezTo>
                  <a:pt x="8134" y="2922"/>
                  <a:pt x="8172" y="2908"/>
                  <a:pt x="8160" y="2877"/>
                </a:cubicBezTo>
                <a:cubicBezTo>
                  <a:pt x="8198" y="2870"/>
                  <a:pt x="8250" y="2870"/>
                  <a:pt x="8276" y="2838"/>
                </a:cubicBezTo>
                <a:cubicBezTo>
                  <a:pt x="8282" y="2870"/>
                  <a:pt x="8205" y="2877"/>
                  <a:pt x="8185" y="2908"/>
                </a:cubicBezTo>
                <a:cubicBezTo>
                  <a:pt x="8192" y="2915"/>
                  <a:pt x="8205" y="2915"/>
                  <a:pt x="8205" y="2908"/>
                </a:cubicBezTo>
                <a:cubicBezTo>
                  <a:pt x="8217" y="2915"/>
                  <a:pt x="8198" y="2946"/>
                  <a:pt x="8179" y="2940"/>
                </a:cubicBezTo>
                <a:cubicBezTo>
                  <a:pt x="8179" y="2940"/>
                  <a:pt x="8179" y="2940"/>
                  <a:pt x="8179" y="2915"/>
                </a:cubicBezTo>
                <a:cubicBezTo>
                  <a:pt x="8115" y="2928"/>
                  <a:pt x="8075" y="3017"/>
                  <a:pt x="8024" y="2953"/>
                </a:cubicBezTo>
                <a:cubicBezTo>
                  <a:pt x="8010" y="2960"/>
                  <a:pt x="8004" y="2966"/>
                  <a:pt x="7998" y="2966"/>
                </a:cubicBezTo>
                <a:cubicBezTo>
                  <a:pt x="7998" y="2979"/>
                  <a:pt x="8004" y="2985"/>
                  <a:pt x="8010" y="2991"/>
                </a:cubicBezTo>
                <a:cubicBezTo>
                  <a:pt x="7991" y="3017"/>
                  <a:pt x="7965" y="3024"/>
                  <a:pt x="7946" y="3043"/>
                </a:cubicBezTo>
                <a:cubicBezTo>
                  <a:pt x="7959" y="3055"/>
                  <a:pt x="7984" y="3024"/>
                  <a:pt x="8004" y="3024"/>
                </a:cubicBezTo>
                <a:cubicBezTo>
                  <a:pt x="7984" y="3043"/>
                  <a:pt x="7965" y="3056"/>
                  <a:pt x="7939" y="3069"/>
                </a:cubicBezTo>
                <a:cubicBezTo>
                  <a:pt x="7958" y="3088"/>
                  <a:pt x="7984" y="3062"/>
                  <a:pt x="7991" y="3056"/>
                </a:cubicBezTo>
                <a:cubicBezTo>
                  <a:pt x="8119" y="3088"/>
                  <a:pt x="8158" y="2998"/>
                  <a:pt x="8249" y="2998"/>
                </a:cubicBezTo>
                <a:cubicBezTo>
                  <a:pt x="8249" y="3017"/>
                  <a:pt x="8229" y="3017"/>
                  <a:pt x="8229" y="3030"/>
                </a:cubicBezTo>
                <a:cubicBezTo>
                  <a:pt x="8243" y="3043"/>
                  <a:pt x="8268" y="3011"/>
                  <a:pt x="8294" y="3011"/>
                </a:cubicBezTo>
                <a:cubicBezTo>
                  <a:pt x="8281" y="3055"/>
                  <a:pt x="8204" y="3036"/>
                  <a:pt x="8209" y="3093"/>
                </a:cubicBezTo>
                <a:cubicBezTo>
                  <a:pt x="8183" y="3087"/>
                  <a:pt x="8183" y="3106"/>
                  <a:pt x="8171" y="3112"/>
                </a:cubicBezTo>
                <a:cubicBezTo>
                  <a:pt x="8100" y="3106"/>
                  <a:pt x="8041" y="3156"/>
                  <a:pt x="7996" y="3195"/>
                </a:cubicBezTo>
                <a:cubicBezTo>
                  <a:pt x="7977" y="3189"/>
                  <a:pt x="7970" y="3195"/>
                  <a:pt x="7970" y="3214"/>
                </a:cubicBezTo>
                <a:cubicBezTo>
                  <a:pt x="7925" y="3208"/>
                  <a:pt x="7848" y="3233"/>
                  <a:pt x="7854" y="3278"/>
                </a:cubicBezTo>
                <a:cubicBezTo>
                  <a:pt x="7841" y="3278"/>
                  <a:pt x="7828" y="3303"/>
                  <a:pt x="7822" y="3278"/>
                </a:cubicBezTo>
                <a:cubicBezTo>
                  <a:pt x="7764" y="3297"/>
                  <a:pt x="7758" y="3361"/>
                  <a:pt x="7699" y="3367"/>
                </a:cubicBezTo>
                <a:cubicBezTo>
                  <a:pt x="7706" y="3354"/>
                  <a:pt x="7602" y="3316"/>
                  <a:pt x="7596" y="3361"/>
                </a:cubicBezTo>
                <a:cubicBezTo>
                  <a:pt x="7622" y="3386"/>
                  <a:pt x="7602" y="3412"/>
                  <a:pt x="7602" y="3444"/>
                </a:cubicBezTo>
                <a:cubicBezTo>
                  <a:pt x="7609" y="3456"/>
                  <a:pt x="7641" y="3437"/>
                  <a:pt x="7635" y="3463"/>
                </a:cubicBezTo>
                <a:cubicBezTo>
                  <a:pt x="7660" y="3463"/>
                  <a:pt x="7660" y="3444"/>
                  <a:pt x="7680" y="3444"/>
                </a:cubicBezTo>
                <a:cubicBezTo>
                  <a:pt x="7680" y="3470"/>
                  <a:pt x="7654" y="3470"/>
                  <a:pt x="7647" y="3489"/>
                </a:cubicBezTo>
                <a:cubicBezTo>
                  <a:pt x="7666" y="3508"/>
                  <a:pt x="7686" y="3527"/>
                  <a:pt x="7699" y="3520"/>
                </a:cubicBezTo>
                <a:cubicBezTo>
                  <a:pt x="7705" y="3533"/>
                  <a:pt x="7680" y="3527"/>
                  <a:pt x="7692" y="3552"/>
                </a:cubicBezTo>
                <a:cubicBezTo>
                  <a:pt x="7731" y="3558"/>
                  <a:pt x="7718" y="3520"/>
                  <a:pt x="7763" y="3527"/>
                </a:cubicBezTo>
                <a:cubicBezTo>
                  <a:pt x="7731" y="3572"/>
                  <a:pt x="7673" y="3584"/>
                  <a:pt x="7647" y="3629"/>
                </a:cubicBezTo>
                <a:cubicBezTo>
                  <a:pt x="7641" y="3598"/>
                  <a:pt x="7576" y="3655"/>
                  <a:pt x="7511" y="3674"/>
                </a:cubicBezTo>
                <a:cubicBezTo>
                  <a:pt x="7479" y="3681"/>
                  <a:pt x="7433" y="3713"/>
                  <a:pt x="7421" y="3745"/>
                </a:cubicBezTo>
                <a:cubicBezTo>
                  <a:pt x="7382" y="3726"/>
                  <a:pt x="7368" y="3777"/>
                  <a:pt x="7356" y="3802"/>
                </a:cubicBezTo>
                <a:cubicBezTo>
                  <a:pt x="7350" y="3815"/>
                  <a:pt x="7342" y="3796"/>
                  <a:pt x="7330" y="3808"/>
                </a:cubicBezTo>
                <a:cubicBezTo>
                  <a:pt x="7337" y="3847"/>
                  <a:pt x="7305" y="3860"/>
                  <a:pt x="7317" y="3879"/>
                </a:cubicBezTo>
                <a:cubicBezTo>
                  <a:pt x="7323" y="3885"/>
                  <a:pt x="7362" y="3904"/>
                  <a:pt x="7362" y="3879"/>
                </a:cubicBezTo>
                <a:cubicBezTo>
                  <a:pt x="7381" y="3899"/>
                  <a:pt x="7336" y="3899"/>
                  <a:pt x="7336" y="3917"/>
                </a:cubicBezTo>
                <a:cubicBezTo>
                  <a:pt x="7330" y="3924"/>
                  <a:pt x="7336" y="3924"/>
                  <a:pt x="7342" y="3936"/>
                </a:cubicBezTo>
                <a:cubicBezTo>
                  <a:pt x="7368" y="3936"/>
                  <a:pt x="7375" y="3911"/>
                  <a:pt x="7401" y="3911"/>
                </a:cubicBezTo>
                <a:cubicBezTo>
                  <a:pt x="7395" y="3937"/>
                  <a:pt x="7395" y="3944"/>
                  <a:pt x="7401" y="3969"/>
                </a:cubicBezTo>
                <a:cubicBezTo>
                  <a:pt x="7350" y="4001"/>
                  <a:pt x="7311" y="4046"/>
                  <a:pt x="7252" y="4071"/>
                </a:cubicBezTo>
                <a:cubicBezTo>
                  <a:pt x="7272" y="4033"/>
                  <a:pt x="7221" y="4039"/>
                  <a:pt x="7201" y="4026"/>
                </a:cubicBezTo>
                <a:cubicBezTo>
                  <a:pt x="7188" y="4040"/>
                  <a:pt x="7207" y="4059"/>
                  <a:pt x="7201" y="4065"/>
                </a:cubicBezTo>
                <a:cubicBezTo>
                  <a:pt x="7169" y="4071"/>
                  <a:pt x="7149" y="4085"/>
                  <a:pt x="7143" y="4110"/>
                </a:cubicBezTo>
                <a:cubicBezTo>
                  <a:pt x="7149" y="4135"/>
                  <a:pt x="7162" y="4116"/>
                  <a:pt x="7175" y="4123"/>
                </a:cubicBezTo>
                <a:cubicBezTo>
                  <a:pt x="7168" y="4155"/>
                  <a:pt x="7123" y="4161"/>
                  <a:pt x="7155" y="4174"/>
                </a:cubicBezTo>
                <a:cubicBezTo>
                  <a:pt x="7143" y="4187"/>
                  <a:pt x="7129" y="4213"/>
                  <a:pt x="7084" y="4213"/>
                </a:cubicBezTo>
                <a:cubicBezTo>
                  <a:pt x="7078" y="4232"/>
                  <a:pt x="7064" y="4251"/>
                  <a:pt x="7058" y="4270"/>
                </a:cubicBezTo>
                <a:cubicBezTo>
                  <a:pt x="7052" y="4264"/>
                  <a:pt x="7026" y="4251"/>
                  <a:pt x="7026" y="4270"/>
                </a:cubicBezTo>
                <a:cubicBezTo>
                  <a:pt x="7000" y="4258"/>
                  <a:pt x="7000" y="4219"/>
                  <a:pt x="7000" y="4187"/>
                </a:cubicBezTo>
                <a:cubicBezTo>
                  <a:pt x="6955" y="4200"/>
                  <a:pt x="6955" y="4233"/>
                  <a:pt x="6922" y="4251"/>
                </a:cubicBezTo>
                <a:cubicBezTo>
                  <a:pt x="6929" y="4265"/>
                  <a:pt x="6942" y="4278"/>
                  <a:pt x="6942" y="4290"/>
                </a:cubicBezTo>
                <a:cubicBezTo>
                  <a:pt x="6962" y="4296"/>
                  <a:pt x="6955" y="4278"/>
                  <a:pt x="6974" y="4284"/>
                </a:cubicBezTo>
                <a:cubicBezTo>
                  <a:pt x="6968" y="4309"/>
                  <a:pt x="6929" y="4309"/>
                  <a:pt x="6929" y="4348"/>
                </a:cubicBezTo>
                <a:cubicBezTo>
                  <a:pt x="6903" y="4341"/>
                  <a:pt x="6891" y="4354"/>
                  <a:pt x="6871" y="4373"/>
                </a:cubicBezTo>
                <a:cubicBezTo>
                  <a:pt x="6851" y="4379"/>
                  <a:pt x="6858" y="4354"/>
                  <a:pt x="6845" y="4348"/>
                </a:cubicBezTo>
                <a:cubicBezTo>
                  <a:pt x="6806" y="4348"/>
                  <a:pt x="6813" y="4380"/>
                  <a:pt x="6800" y="4405"/>
                </a:cubicBezTo>
                <a:cubicBezTo>
                  <a:pt x="6806" y="4418"/>
                  <a:pt x="6820" y="4386"/>
                  <a:pt x="6832" y="4405"/>
                </a:cubicBezTo>
                <a:cubicBezTo>
                  <a:pt x="6820" y="4419"/>
                  <a:pt x="6806" y="4431"/>
                  <a:pt x="6794" y="4450"/>
                </a:cubicBezTo>
                <a:cubicBezTo>
                  <a:pt x="6833" y="4444"/>
                  <a:pt x="6852" y="4457"/>
                  <a:pt x="6884" y="4431"/>
                </a:cubicBezTo>
                <a:cubicBezTo>
                  <a:pt x="6892" y="4450"/>
                  <a:pt x="6865" y="4438"/>
                  <a:pt x="6872" y="4457"/>
                </a:cubicBezTo>
                <a:cubicBezTo>
                  <a:pt x="6904" y="4457"/>
                  <a:pt x="6904" y="4418"/>
                  <a:pt x="6930" y="4412"/>
                </a:cubicBezTo>
                <a:cubicBezTo>
                  <a:pt x="6930" y="4443"/>
                  <a:pt x="6910" y="4469"/>
                  <a:pt x="6898" y="4488"/>
                </a:cubicBezTo>
                <a:cubicBezTo>
                  <a:pt x="6950" y="4552"/>
                  <a:pt x="6975" y="4418"/>
                  <a:pt x="7034" y="4450"/>
                </a:cubicBezTo>
                <a:cubicBezTo>
                  <a:pt x="7034" y="4476"/>
                  <a:pt x="7008" y="4476"/>
                  <a:pt x="7001" y="4501"/>
                </a:cubicBezTo>
                <a:cubicBezTo>
                  <a:pt x="6995" y="4482"/>
                  <a:pt x="6982" y="4488"/>
                  <a:pt x="6969" y="4495"/>
                </a:cubicBezTo>
                <a:cubicBezTo>
                  <a:pt x="6962" y="4514"/>
                  <a:pt x="6988" y="4501"/>
                  <a:pt x="6982" y="4520"/>
                </a:cubicBezTo>
                <a:cubicBezTo>
                  <a:pt x="7053" y="4500"/>
                  <a:pt x="7136" y="4411"/>
                  <a:pt x="7059" y="4347"/>
                </a:cubicBezTo>
                <a:cubicBezTo>
                  <a:pt x="7098" y="4334"/>
                  <a:pt x="7111" y="4353"/>
                  <a:pt x="7156" y="4334"/>
                </a:cubicBezTo>
                <a:cubicBezTo>
                  <a:pt x="7150" y="4302"/>
                  <a:pt x="7150" y="4289"/>
                  <a:pt x="7176" y="4283"/>
                </a:cubicBezTo>
                <a:cubicBezTo>
                  <a:pt x="7169" y="4270"/>
                  <a:pt x="7157" y="4270"/>
                  <a:pt x="7163" y="4251"/>
                </a:cubicBezTo>
                <a:cubicBezTo>
                  <a:pt x="7175" y="4228"/>
                  <a:pt x="7199" y="4266"/>
                  <a:pt x="7207" y="4239"/>
                </a:cubicBezTo>
                <a:lnTo>
                  <a:pt x="7207" y="4238"/>
                </a:lnTo>
                <a:lnTo>
                  <a:pt x="7207" y="4240"/>
                </a:lnTo>
                <a:cubicBezTo>
                  <a:pt x="7205" y="4258"/>
                  <a:pt x="7217" y="4281"/>
                  <a:pt x="7228" y="4303"/>
                </a:cubicBezTo>
                <a:cubicBezTo>
                  <a:pt x="7215" y="4322"/>
                  <a:pt x="7202" y="4341"/>
                  <a:pt x="7189" y="4360"/>
                </a:cubicBezTo>
                <a:cubicBezTo>
                  <a:pt x="7228" y="4360"/>
                  <a:pt x="7286" y="4328"/>
                  <a:pt x="7299" y="4296"/>
                </a:cubicBezTo>
                <a:cubicBezTo>
                  <a:pt x="7318" y="4309"/>
                  <a:pt x="7324" y="4296"/>
                  <a:pt x="7344" y="4284"/>
                </a:cubicBezTo>
                <a:cubicBezTo>
                  <a:pt x="7344" y="4278"/>
                  <a:pt x="7338" y="4278"/>
                  <a:pt x="7338" y="4271"/>
                </a:cubicBezTo>
                <a:cubicBezTo>
                  <a:pt x="7312" y="4271"/>
                  <a:pt x="7312" y="4284"/>
                  <a:pt x="7293" y="4284"/>
                </a:cubicBezTo>
                <a:cubicBezTo>
                  <a:pt x="7305" y="4240"/>
                  <a:pt x="7357" y="4227"/>
                  <a:pt x="7376" y="4188"/>
                </a:cubicBezTo>
                <a:cubicBezTo>
                  <a:pt x="7370" y="4169"/>
                  <a:pt x="7357" y="4214"/>
                  <a:pt x="7344" y="4195"/>
                </a:cubicBezTo>
                <a:cubicBezTo>
                  <a:pt x="7363" y="4181"/>
                  <a:pt x="7369" y="4156"/>
                  <a:pt x="7395" y="4150"/>
                </a:cubicBezTo>
                <a:cubicBezTo>
                  <a:pt x="7395" y="4169"/>
                  <a:pt x="7376" y="4162"/>
                  <a:pt x="7383" y="4181"/>
                </a:cubicBezTo>
                <a:cubicBezTo>
                  <a:pt x="7395" y="4174"/>
                  <a:pt x="7409" y="4161"/>
                  <a:pt x="7415" y="4142"/>
                </a:cubicBezTo>
                <a:cubicBezTo>
                  <a:pt x="7428" y="4149"/>
                  <a:pt x="7402" y="4168"/>
                  <a:pt x="7402" y="4174"/>
                </a:cubicBezTo>
                <a:cubicBezTo>
                  <a:pt x="7415" y="4200"/>
                  <a:pt x="7435" y="4244"/>
                  <a:pt x="7474" y="4213"/>
                </a:cubicBezTo>
                <a:cubicBezTo>
                  <a:pt x="7467" y="4194"/>
                  <a:pt x="7447" y="4180"/>
                  <a:pt x="7467" y="4155"/>
                </a:cubicBezTo>
                <a:cubicBezTo>
                  <a:pt x="7481" y="4169"/>
                  <a:pt x="7474" y="4194"/>
                  <a:pt x="7493" y="4194"/>
                </a:cubicBezTo>
                <a:cubicBezTo>
                  <a:pt x="7526" y="4169"/>
                  <a:pt x="7558" y="4136"/>
                  <a:pt x="7603" y="4117"/>
                </a:cubicBezTo>
                <a:cubicBezTo>
                  <a:pt x="7648" y="4194"/>
                  <a:pt x="7512" y="4142"/>
                  <a:pt x="7512" y="4206"/>
                </a:cubicBezTo>
                <a:cubicBezTo>
                  <a:pt x="7486" y="4206"/>
                  <a:pt x="7474" y="4220"/>
                  <a:pt x="7474" y="4245"/>
                </a:cubicBezTo>
                <a:cubicBezTo>
                  <a:pt x="7506" y="4251"/>
                  <a:pt x="7493" y="4284"/>
                  <a:pt x="7506" y="4303"/>
                </a:cubicBezTo>
                <a:cubicBezTo>
                  <a:pt x="7474" y="4323"/>
                  <a:pt x="7435" y="4367"/>
                  <a:pt x="7409" y="4412"/>
                </a:cubicBezTo>
                <a:cubicBezTo>
                  <a:pt x="7402" y="4431"/>
                  <a:pt x="7428" y="4425"/>
                  <a:pt x="7415" y="4450"/>
                </a:cubicBezTo>
                <a:cubicBezTo>
                  <a:pt x="7390" y="4450"/>
                  <a:pt x="7357" y="4457"/>
                  <a:pt x="7370" y="4508"/>
                </a:cubicBezTo>
                <a:cubicBezTo>
                  <a:pt x="7331" y="4527"/>
                  <a:pt x="7274" y="4540"/>
                  <a:pt x="7254" y="4578"/>
                </a:cubicBezTo>
                <a:cubicBezTo>
                  <a:pt x="7254" y="4585"/>
                  <a:pt x="7260" y="4585"/>
                  <a:pt x="7267" y="4597"/>
                </a:cubicBezTo>
                <a:cubicBezTo>
                  <a:pt x="7331" y="4571"/>
                  <a:pt x="7389" y="4533"/>
                  <a:pt x="7447" y="4495"/>
                </a:cubicBezTo>
                <a:cubicBezTo>
                  <a:pt x="7455" y="4565"/>
                  <a:pt x="7325" y="4546"/>
                  <a:pt x="7325" y="4623"/>
                </a:cubicBezTo>
                <a:cubicBezTo>
                  <a:pt x="7338" y="4623"/>
                  <a:pt x="7345" y="4636"/>
                  <a:pt x="7345" y="4668"/>
                </a:cubicBezTo>
                <a:cubicBezTo>
                  <a:pt x="7357" y="4668"/>
                  <a:pt x="7357" y="4649"/>
                  <a:pt x="7383" y="4655"/>
                </a:cubicBezTo>
                <a:cubicBezTo>
                  <a:pt x="7390" y="4674"/>
                  <a:pt x="7364" y="4661"/>
                  <a:pt x="7357" y="4668"/>
                </a:cubicBezTo>
                <a:cubicBezTo>
                  <a:pt x="7357" y="4675"/>
                  <a:pt x="7364" y="4706"/>
                  <a:pt x="7364" y="4706"/>
                </a:cubicBezTo>
                <a:cubicBezTo>
                  <a:pt x="7396" y="4732"/>
                  <a:pt x="7441" y="4668"/>
                  <a:pt x="7396" y="4732"/>
                </a:cubicBezTo>
                <a:cubicBezTo>
                  <a:pt x="7396" y="4744"/>
                  <a:pt x="7416" y="4732"/>
                  <a:pt x="7416" y="4725"/>
                </a:cubicBezTo>
                <a:cubicBezTo>
                  <a:pt x="7416" y="4770"/>
                  <a:pt x="7493" y="4739"/>
                  <a:pt x="7500" y="4700"/>
                </a:cubicBezTo>
                <a:cubicBezTo>
                  <a:pt x="7551" y="4700"/>
                  <a:pt x="7609" y="4668"/>
                  <a:pt x="7622" y="4611"/>
                </a:cubicBezTo>
                <a:cubicBezTo>
                  <a:pt x="7596" y="4611"/>
                  <a:pt x="7577" y="4617"/>
                  <a:pt x="7557" y="4623"/>
                </a:cubicBezTo>
                <a:cubicBezTo>
                  <a:pt x="7557" y="4597"/>
                  <a:pt x="7570" y="4546"/>
                  <a:pt x="7557" y="4521"/>
                </a:cubicBezTo>
                <a:cubicBezTo>
                  <a:pt x="7570" y="4508"/>
                  <a:pt x="7577" y="4527"/>
                  <a:pt x="7590" y="4514"/>
                </a:cubicBezTo>
                <a:cubicBezTo>
                  <a:pt x="7564" y="4476"/>
                  <a:pt x="7616" y="4450"/>
                  <a:pt x="7648" y="4438"/>
                </a:cubicBezTo>
                <a:cubicBezTo>
                  <a:pt x="7642" y="4463"/>
                  <a:pt x="7629" y="4483"/>
                  <a:pt x="7609" y="4502"/>
                </a:cubicBezTo>
                <a:cubicBezTo>
                  <a:pt x="7609" y="4527"/>
                  <a:pt x="7622" y="4514"/>
                  <a:pt x="7642" y="4514"/>
                </a:cubicBezTo>
                <a:cubicBezTo>
                  <a:pt x="7635" y="4540"/>
                  <a:pt x="7628" y="4572"/>
                  <a:pt x="7616" y="4591"/>
                </a:cubicBezTo>
                <a:cubicBezTo>
                  <a:pt x="7616" y="4597"/>
                  <a:pt x="7623" y="4604"/>
                  <a:pt x="7635" y="4604"/>
                </a:cubicBezTo>
                <a:cubicBezTo>
                  <a:pt x="7629" y="4610"/>
                  <a:pt x="7629" y="4623"/>
                  <a:pt x="7623" y="4629"/>
                </a:cubicBezTo>
                <a:cubicBezTo>
                  <a:pt x="7635" y="4642"/>
                  <a:pt x="7654" y="4629"/>
                  <a:pt x="7674" y="4623"/>
                </a:cubicBezTo>
                <a:cubicBezTo>
                  <a:pt x="7674" y="4661"/>
                  <a:pt x="7635" y="4649"/>
                  <a:pt x="7629" y="4680"/>
                </a:cubicBezTo>
                <a:cubicBezTo>
                  <a:pt x="7635" y="4687"/>
                  <a:pt x="7674" y="4668"/>
                  <a:pt x="7661" y="4699"/>
                </a:cubicBezTo>
                <a:cubicBezTo>
                  <a:pt x="7694" y="4718"/>
                  <a:pt x="7700" y="4687"/>
                  <a:pt x="7733" y="4687"/>
                </a:cubicBezTo>
                <a:cubicBezTo>
                  <a:pt x="7726" y="4693"/>
                  <a:pt x="7726" y="4705"/>
                  <a:pt x="7720" y="4712"/>
                </a:cubicBezTo>
                <a:cubicBezTo>
                  <a:pt x="7720" y="4724"/>
                  <a:pt x="7740" y="4718"/>
                  <a:pt x="7740" y="4731"/>
                </a:cubicBezTo>
                <a:cubicBezTo>
                  <a:pt x="7817" y="4698"/>
                  <a:pt x="7888" y="4647"/>
                  <a:pt x="7965" y="4622"/>
                </a:cubicBezTo>
                <a:cubicBezTo>
                  <a:pt x="7914" y="4673"/>
                  <a:pt x="7823" y="4692"/>
                  <a:pt x="7785" y="4756"/>
                </a:cubicBezTo>
                <a:cubicBezTo>
                  <a:pt x="7746" y="4756"/>
                  <a:pt x="7733" y="4782"/>
                  <a:pt x="7714" y="4801"/>
                </a:cubicBezTo>
                <a:cubicBezTo>
                  <a:pt x="7772" y="4776"/>
                  <a:pt x="7830" y="4743"/>
                  <a:pt x="7894" y="4724"/>
                </a:cubicBezTo>
                <a:cubicBezTo>
                  <a:pt x="7888" y="4750"/>
                  <a:pt x="7888" y="4757"/>
                  <a:pt x="7882" y="4782"/>
                </a:cubicBezTo>
                <a:cubicBezTo>
                  <a:pt x="7857" y="4782"/>
                  <a:pt x="7857" y="4757"/>
                  <a:pt x="7830" y="4763"/>
                </a:cubicBezTo>
                <a:cubicBezTo>
                  <a:pt x="7817" y="4769"/>
                  <a:pt x="7830" y="4808"/>
                  <a:pt x="7811" y="4814"/>
                </a:cubicBezTo>
                <a:cubicBezTo>
                  <a:pt x="7772" y="4795"/>
                  <a:pt x="7766" y="4840"/>
                  <a:pt x="7740" y="4853"/>
                </a:cubicBezTo>
                <a:cubicBezTo>
                  <a:pt x="7753" y="4866"/>
                  <a:pt x="7779" y="4866"/>
                  <a:pt x="7759" y="4885"/>
                </a:cubicBezTo>
                <a:cubicBezTo>
                  <a:pt x="7818" y="4910"/>
                  <a:pt x="7850" y="4878"/>
                  <a:pt x="7824" y="4833"/>
                </a:cubicBezTo>
                <a:cubicBezTo>
                  <a:pt x="7830" y="4827"/>
                  <a:pt x="7837" y="4814"/>
                  <a:pt x="7837" y="4808"/>
                </a:cubicBezTo>
                <a:cubicBezTo>
                  <a:pt x="7888" y="4833"/>
                  <a:pt x="7875" y="4763"/>
                  <a:pt x="7920" y="4769"/>
                </a:cubicBezTo>
                <a:cubicBezTo>
                  <a:pt x="7914" y="4789"/>
                  <a:pt x="7895" y="4802"/>
                  <a:pt x="7869" y="4814"/>
                </a:cubicBezTo>
                <a:cubicBezTo>
                  <a:pt x="7875" y="4827"/>
                  <a:pt x="7869" y="4827"/>
                  <a:pt x="7875" y="4846"/>
                </a:cubicBezTo>
                <a:cubicBezTo>
                  <a:pt x="7869" y="4852"/>
                  <a:pt x="7849" y="4852"/>
                  <a:pt x="7843" y="4865"/>
                </a:cubicBezTo>
                <a:cubicBezTo>
                  <a:pt x="7869" y="4859"/>
                  <a:pt x="7914" y="4852"/>
                  <a:pt x="7934" y="4833"/>
                </a:cubicBezTo>
                <a:cubicBezTo>
                  <a:pt x="7921" y="4885"/>
                  <a:pt x="7850" y="4885"/>
                  <a:pt x="7811" y="4910"/>
                </a:cubicBezTo>
                <a:cubicBezTo>
                  <a:pt x="7753" y="4949"/>
                  <a:pt x="7714" y="5013"/>
                  <a:pt x="7637" y="5019"/>
                </a:cubicBezTo>
                <a:cubicBezTo>
                  <a:pt x="7624" y="5000"/>
                  <a:pt x="7624" y="4987"/>
                  <a:pt x="7605" y="4987"/>
                </a:cubicBezTo>
                <a:cubicBezTo>
                  <a:pt x="7605" y="4975"/>
                  <a:pt x="7618" y="4968"/>
                  <a:pt x="7624" y="4956"/>
                </a:cubicBezTo>
                <a:cubicBezTo>
                  <a:pt x="7611" y="4956"/>
                  <a:pt x="7611" y="4937"/>
                  <a:pt x="7605" y="4931"/>
                </a:cubicBezTo>
                <a:cubicBezTo>
                  <a:pt x="7592" y="4931"/>
                  <a:pt x="7592" y="4943"/>
                  <a:pt x="7572" y="4943"/>
                </a:cubicBezTo>
                <a:cubicBezTo>
                  <a:pt x="7572" y="4969"/>
                  <a:pt x="7585" y="4976"/>
                  <a:pt x="7552" y="4988"/>
                </a:cubicBezTo>
                <a:cubicBezTo>
                  <a:pt x="7552" y="5001"/>
                  <a:pt x="7552" y="5013"/>
                  <a:pt x="7565" y="5013"/>
                </a:cubicBezTo>
                <a:cubicBezTo>
                  <a:pt x="7546" y="5039"/>
                  <a:pt x="7481" y="5058"/>
                  <a:pt x="7526" y="5096"/>
                </a:cubicBezTo>
                <a:cubicBezTo>
                  <a:pt x="7494" y="5103"/>
                  <a:pt x="7449" y="5096"/>
                  <a:pt x="7443" y="5135"/>
                </a:cubicBezTo>
                <a:cubicBezTo>
                  <a:pt x="7423" y="5141"/>
                  <a:pt x="7429" y="5122"/>
                  <a:pt x="7417" y="5122"/>
                </a:cubicBezTo>
                <a:cubicBezTo>
                  <a:pt x="7403" y="5129"/>
                  <a:pt x="7397" y="5142"/>
                  <a:pt x="7397" y="5161"/>
                </a:cubicBezTo>
                <a:cubicBezTo>
                  <a:pt x="7383" y="5161"/>
                  <a:pt x="7390" y="5142"/>
                  <a:pt x="7377" y="5142"/>
                </a:cubicBezTo>
                <a:cubicBezTo>
                  <a:pt x="7352" y="5168"/>
                  <a:pt x="7383" y="5174"/>
                  <a:pt x="7403" y="5193"/>
                </a:cubicBezTo>
                <a:cubicBezTo>
                  <a:pt x="7423" y="5181"/>
                  <a:pt x="7442" y="5168"/>
                  <a:pt x="7462" y="5162"/>
                </a:cubicBezTo>
                <a:cubicBezTo>
                  <a:pt x="7462" y="5174"/>
                  <a:pt x="7462" y="5187"/>
                  <a:pt x="7449" y="5193"/>
                </a:cubicBezTo>
                <a:cubicBezTo>
                  <a:pt x="7449" y="5206"/>
                  <a:pt x="7462" y="5206"/>
                  <a:pt x="7481" y="5200"/>
                </a:cubicBezTo>
                <a:cubicBezTo>
                  <a:pt x="7475" y="5219"/>
                  <a:pt x="7481" y="5219"/>
                  <a:pt x="7475" y="5231"/>
                </a:cubicBezTo>
                <a:cubicBezTo>
                  <a:pt x="7488" y="5244"/>
                  <a:pt x="7500" y="5218"/>
                  <a:pt x="7488" y="5257"/>
                </a:cubicBezTo>
                <a:cubicBezTo>
                  <a:pt x="7539" y="5263"/>
                  <a:pt x="7571" y="5212"/>
                  <a:pt x="7597" y="5212"/>
                </a:cubicBezTo>
                <a:cubicBezTo>
                  <a:pt x="7585" y="5231"/>
                  <a:pt x="7559" y="5231"/>
                  <a:pt x="7546" y="5250"/>
                </a:cubicBezTo>
                <a:cubicBezTo>
                  <a:pt x="7552" y="5270"/>
                  <a:pt x="7540" y="5270"/>
                  <a:pt x="7546" y="5289"/>
                </a:cubicBezTo>
                <a:cubicBezTo>
                  <a:pt x="7527" y="5302"/>
                  <a:pt x="7507" y="5302"/>
                  <a:pt x="7507" y="5328"/>
                </a:cubicBezTo>
                <a:cubicBezTo>
                  <a:pt x="7494" y="5334"/>
                  <a:pt x="7494" y="5315"/>
                  <a:pt x="7488" y="5315"/>
                </a:cubicBezTo>
                <a:cubicBezTo>
                  <a:pt x="7481" y="5321"/>
                  <a:pt x="7481" y="5328"/>
                  <a:pt x="7468" y="5328"/>
                </a:cubicBezTo>
                <a:cubicBezTo>
                  <a:pt x="7481" y="5334"/>
                  <a:pt x="7488" y="5347"/>
                  <a:pt x="7494" y="5359"/>
                </a:cubicBezTo>
                <a:cubicBezTo>
                  <a:pt x="7520" y="5328"/>
                  <a:pt x="7578" y="5347"/>
                  <a:pt x="7597" y="5289"/>
                </a:cubicBezTo>
                <a:cubicBezTo>
                  <a:pt x="7636" y="5321"/>
                  <a:pt x="7650" y="5264"/>
                  <a:pt x="7701" y="5270"/>
                </a:cubicBezTo>
                <a:cubicBezTo>
                  <a:pt x="7701" y="5276"/>
                  <a:pt x="7714" y="5302"/>
                  <a:pt x="7701" y="5302"/>
                </a:cubicBezTo>
                <a:cubicBezTo>
                  <a:pt x="7707" y="5314"/>
                  <a:pt x="7714" y="5302"/>
                  <a:pt x="7733" y="5308"/>
                </a:cubicBezTo>
                <a:cubicBezTo>
                  <a:pt x="7707" y="5328"/>
                  <a:pt x="7695" y="5347"/>
                  <a:pt x="7656" y="5353"/>
                </a:cubicBezTo>
                <a:cubicBezTo>
                  <a:pt x="7662" y="5321"/>
                  <a:pt x="7675" y="5308"/>
                  <a:pt x="7701" y="5295"/>
                </a:cubicBezTo>
                <a:cubicBezTo>
                  <a:pt x="7661" y="5289"/>
                  <a:pt x="7630" y="5340"/>
                  <a:pt x="7610" y="5372"/>
                </a:cubicBezTo>
                <a:cubicBezTo>
                  <a:pt x="7616" y="5378"/>
                  <a:pt x="7642" y="5359"/>
                  <a:pt x="7642" y="5347"/>
                </a:cubicBezTo>
                <a:cubicBezTo>
                  <a:pt x="7662" y="5373"/>
                  <a:pt x="7610" y="5385"/>
                  <a:pt x="7597" y="5404"/>
                </a:cubicBezTo>
                <a:cubicBezTo>
                  <a:pt x="7585" y="5404"/>
                  <a:pt x="7585" y="5385"/>
                  <a:pt x="7565" y="5392"/>
                </a:cubicBezTo>
                <a:cubicBezTo>
                  <a:pt x="7552" y="5392"/>
                  <a:pt x="7545" y="5404"/>
                  <a:pt x="7545" y="5417"/>
                </a:cubicBezTo>
                <a:cubicBezTo>
                  <a:pt x="7565" y="5423"/>
                  <a:pt x="7558" y="5436"/>
                  <a:pt x="7578" y="5448"/>
                </a:cubicBezTo>
                <a:cubicBezTo>
                  <a:pt x="7649" y="5410"/>
                  <a:pt x="7688" y="5333"/>
                  <a:pt x="7785" y="5314"/>
                </a:cubicBezTo>
                <a:cubicBezTo>
                  <a:pt x="7791" y="5295"/>
                  <a:pt x="7771" y="5295"/>
                  <a:pt x="7765" y="5283"/>
                </a:cubicBezTo>
                <a:cubicBezTo>
                  <a:pt x="7765" y="5276"/>
                  <a:pt x="7771" y="5270"/>
                  <a:pt x="7771" y="5264"/>
                </a:cubicBezTo>
                <a:cubicBezTo>
                  <a:pt x="7771" y="5251"/>
                  <a:pt x="7765" y="5264"/>
                  <a:pt x="7759" y="5264"/>
                </a:cubicBezTo>
                <a:cubicBezTo>
                  <a:pt x="7765" y="5257"/>
                  <a:pt x="7765" y="5238"/>
                  <a:pt x="7765" y="5219"/>
                </a:cubicBezTo>
                <a:cubicBezTo>
                  <a:pt x="7784" y="5219"/>
                  <a:pt x="7784" y="5193"/>
                  <a:pt x="7810" y="5200"/>
                </a:cubicBezTo>
                <a:cubicBezTo>
                  <a:pt x="7804" y="5187"/>
                  <a:pt x="7791" y="5187"/>
                  <a:pt x="7797" y="5168"/>
                </a:cubicBezTo>
                <a:cubicBezTo>
                  <a:pt x="7830" y="5168"/>
                  <a:pt x="7868" y="5162"/>
                  <a:pt x="7901" y="5143"/>
                </a:cubicBezTo>
                <a:cubicBezTo>
                  <a:pt x="7901" y="5156"/>
                  <a:pt x="7894" y="5156"/>
                  <a:pt x="7894" y="5162"/>
                </a:cubicBezTo>
                <a:cubicBezTo>
                  <a:pt x="7965" y="5168"/>
                  <a:pt x="7965" y="5098"/>
                  <a:pt x="8017" y="5085"/>
                </a:cubicBezTo>
                <a:cubicBezTo>
                  <a:pt x="7992" y="5098"/>
                  <a:pt x="8023" y="5117"/>
                  <a:pt x="8043" y="5104"/>
                </a:cubicBezTo>
                <a:cubicBezTo>
                  <a:pt x="8049" y="5118"/>
                  <a:pt x="8004" y="5124"/>
                  <a:pt x="8004" y="5149"/>
                </a:cubicBezTo>
                <a:cubicBezTo>
                  <a:pt x="7984" y="5156"/>
                  <a:pt x="7984" y="5143"/>
                  <a:pt x="7972" y="5143"/>
                </a:cubicBezTo>
                <a:cubicBezTo>
                  <a:pt x="7953" y="5143"/>
                  <a:pt x="7959" y="5169"/>
                  <a:pt x="7959" y="5188"/>
                </a:cubicBezTo>
                <a:cubicBezTo>
                  <a:pt x="7940" y="5194"/>
                  <a:pt x="7920" y="5207"/>
                  <a:pt x="7908" y="5213"/>
                </a:cubicBezTo>
                <a:cubicBezTo>
                  <a:pt x="7908" y="5227"/>
                  <a:pt x="7920" y="5233"/>
                  <a:pt x="7914" y="5252"/>
                </a:cubicBezTo>
                <a:cubicBezTo>
                  <a:pt x="7908" y="5265"/>
                  <a:pt x="7868" y="5278"/>
                  <a:pt x="7888" y="5297"/>
                </a:cubicBezTo>
                <a:cubicBezTo>
                  <a:pt x="7856" y="5336"/>
                  <a:pt x="7811" y="5328"/>
                  <a:pt x="7785" y="5367"/>
                </a:cubicBezTo>
                <a:cubicBezTo>
                  <a:pt x="7797" y="5367"/>
                  <a:pt x="7804" y="5355"/>
                  <a:pt x="7823" y="5361"/>
                </a:cubicBezTo>
                <a:cubicBezTo>
                  <a:pt x="7817" y="5386"/>
                  <a:pt x="7785" y="5392"/>
                  <a:pt x="7785" y="5431"/>
                </a:cubicBezTo>
                <a:cubicBezTo>
                  <a:pt x="7830" y="5405"/>
                  <a:pt x="7888" y="5392"/>
                  <a:pt x="7920" y="5373"/>
                </a:cubicBezTo>
                <a:cubicBezTo>
                  <a:pt x="7914" y="5411"/>
                  <a:pt x="7836" y="5424"/>
                  <a:pt x="7823" y="5469"/>
                </a:cubicBezTo>
                <a:cubicBezTo>
                  <a:pt x="7836" y="5475"/>
                  <a:pt x="7849" y="5482"/>
                  <a:pt x="7856" y="5463"/>
                </a:cubicBezTo>
                <a:cubicBezTo>
                  <a:pt x="7869" y="5463"/>
                  <a:pt x="7863" y="5482"/>
                  <a:pt x="7875" y="5482"/>
                </a:cubicBezTo>
                <a:cubicBezTo>
                  <a:pt x="7920" y="5456"/>
                  <a:pt x="7953" y="5424"/>
                  <a:pt x="8018" y="5430"/>
                </a:cubicBezTo>
                <a:cubicBezTo>
                  <a:pt x="8030" y="5449"/>
                  <a:pt x="8005" y="5494"/>
                  <a:pt x="7979" y="5501"/>
                </a:cubicBezTo>
                <a:cubicBezTo>
                  <a:pt x="7979" y="5501"/>
                  <a:pt x="7979" y="5501"/>
                  <a:pt x="7979" y="5482"/>
                </a:cubicBezTo>
                <a:cubicBezTo>
                  <a:pt x="7908" y="5482"/>
                  <a:pt x="7895" y="5553"/>
                  <a:pt x="7857" y="5584"/>
                </a:cubicBezTo>
                <a:cubicBezTo>
                  <a:pt x="7850" y="5591"/>
                  <a:pt x="7830" y="5578"/>
                  <a:pt x="7830" y="5603"/>
                </a:cubicBezTo>
                <a:cubicBezTo>
                  <a:pt x="7792" y="5559"/>
                  <a:pt x="7746" y="5642"/>
                  <a:pt x="7695" y="5642"/>
                </a:cubicBezTo>
                <a:cubicBezTo>
                  <a:pt x="7726" y="5584"/>
                  <a:pt x="7785" y="5539"/>
                  <a:pt x="7817" y="5475"/>
                </a:cubicBezTo>
                <a:cubicBezTo>
                  <a:pt x="7811" y="5463"/>
                  <a:pt x="7778" y="5475"/>
                  <a:pt x="7772" y="5463"/>
                </a:cubicBezTo>
                <a:cubicBezTo>
                  <a:pt x="7778" y="5449"/>
                  <a:pt x="7785" y="5443"/>
                  <a:pt x="7778" y="5424"/>
                </a:cubicBezTo>
                <a:cubicBezTo>
                  <a:pt x="7765" y="5424"/>
                  <a:pt x="7759" y="5424"/>
                  <a:pt x="7759" y="5437"/>
                </a:cubicBezTo>
                <a:cubicBezTo>
                  <a:pt x="7746" y="5430"/>
                  <a:pt x="7765" y="5418"/>
                  <a:pt x="7752" y="5411"/>
                </a:cubicBezTo>
                <a:cubicBezTo>
                  <a:pt x="7707" y="5424"/>
                  <a:pt x="7707" y="5475"/>
                  <a:pt x="7669" y="5488"/>
                </a:cubicBezTo>
                <a:cubicBezTo>
                  <a:pt x="7662" y="5482"/>
                  <a:pt x="7662" y="5475"/>
                  <a:pt x="7662" y="5463"/>
                </a:cubicBezTo>
                <a:cubicBezTo>
                  <a:pt x="7643" y="5469"/>
                  <a:pt x="7611" y="5463"/>
                  <a:pt x="7617" y="5494"/>
                </a:cubicBezTo>
                <a:cubicBezTo>
                  <a:pt x="7605" y="5494"/>
                  <a:pt x="7598" y="5507"/>
                  <a:pt x="7579" y="5501"/>
                </a:cubicBezTo>
                <a:cubicBezTo>
                  <a:pt x="7559" y="5532"/>
                  <a:pt x="7507" y="5538"/>
                  <a:pt x="7488" y="5577"/>
                </a:cubicBezTo>
                <a:cubicBezTo>
                  <a:pt x="7468" y="5565"/>
                  <a:pt x="7455" y="5584"/>
                  <a:pt x="7429" y="5584"/>
                </a:cubicBezTo>
                <a:cubicBezTo>
                  <a:pt x="7429" y="5557"/>
                  <a:pt x="7455" y="5557"/>
                  <a:pt x="7468" y="5545"/>
                </a:cubicBezTo>
                <a:cubicBezTo>
                  <a:pt x="7442" y="5513"/>
                  <a:pt x="7384" y="5552"/>
                  <a:pt x="7365" y="5584"/>
                </a:cubicBezTo>
                <a:cubicBezTo>
                  <a:pt x="7390" y="5647"/>
                  <a:pt x="7338" y="5654"/>
                  <a:pt x="7306" y="5679"/>
                </a:cubicBezTo>
                <a:cubicBezTo>
                  <a:pt x="7293" y="5653"/>
                  <a:pt x="7320" y="5647"/>
                  <a:pt x="7332" y="5628"/>
                </a:cubicBezTo>
                <a:cubicBezTo>
                  <a:pt x="7326" y="5602"/>
                  <a:pt x="7300" y="5609"/>
                  <a:pt x="7287" y="5609"/>
                </a:cubicBezTo>
                <a:cubicBezTo>
                  <a:pt x="7312" y="5565"/>
                  <a:pt x="7365" y="5551"/>
                  <a:pt x="7403" y="5526"/>
                </a:cubicBezTo>
                <a:cubicBezTo>
                  <a:pt x="7403" y="5494"/>
                  <a:pt x="7391" y="5487"/>
                  <a:pt x="7403" y="5456"/>
                </a:cubicBezTo>
                <a:cubicBezTo>
                  <a:pt x="7410" y="5462"/>
                  <a:pt x="7416" y="5468"/>
                  <a:pt x="7416" y="5481"/>
                </a:cubicBezTo>
                <a:cubicBezTo>
                  <a:pt x="7429" y="5487"/>
                  <a:pt x="7429" y="5475"/>
                  <a:pt x="7442" y="5475"/>
                </a:cubicBezTo>
                <a:cubicBezTo>
                  <a:pt x="7448" y="5442"/>
                  <a:pt x="7428" y="5442"/>
                  <a:pt x="7422" y="5423"/>
                </a:cubicBezTo>
                <a:cubicBezTo>
                  <a:pt x="7441" y="5417"/>
                  <a:pt x="7435" y="5392"/>
                  <a:pt x="7461" y="5392"/>
                </a:cubicBezTo>
                <a:cubicBezTo>
                  <a:pt x="7461" y="5392"/>
                  <a:pt x="7461" y="5392"/>
                  <a:pt x="7461" y="5360"/>
                </a:cubicBezTo>
                <a:cubicBezTo>
                  <a:pt x="7416" y="5379"/>
                  <a:pt x="7371" y="5424"/>
                  <a:pt x="7351" y="5449"/>
                </a:cubicBezTo>
                <a:cubicBezTo>
                  <a:pt x="7351" y="5468"/>
                  <a:pt x="7338" y="5443"/>
                  <a:pt x="7338" y="5437"/>
                </a:cubicBezTo>
                <a:cubicBezTo>
                  <a:pt x="7332" y="5443"/>
                  <a:pt x="7326" y="5449"/>
                  <a:pt x="7306" y="5449"/>
                </a:cubicBezTo>
                <a:cubicBezTo>
                  <a:pt x="7300" y="5443"/>
                  <a:pt x="7345" y="5443"/>
                  <a:pt x="7332" y="5404"/>
                </a:cubicBezTo>
                <a:cubicBezTo>
                  <a:pt x="7326" y="5404"/>
                  <a:pt x="7293" y="5404"/>
                  <a:pt x="7287" y="5385"/>
                </a:cubicBezTo>
                <a:cubicBezTo>
                  <a:pt x="7293" y="5385"/>
                  <a:pt x="7358" y="5392"/>
                  <a:pt x="7338" y="5366"/>
                </a:cubicBezTo>
                <a:cubicBezTo>
                  <a:pt x="7319" y="5379"/>
                  <a:pt x="7351" y="5341"/>
                  <a:pt x="7345" y="5373"/>
                </a:cubicBezTo>
                <a:cubicBezTo>
                  <a:pt x="7365" y="5366"/>
                  <a:pt x="7371" y="5347"/>
                  <a:pt x="7371" y="5321"/>
                </a:cubicBezTo>
                <a:cubicBezTo>
                  <a:pt x="7390" y="5340"/>
                  <a:pt x="7403" y="5296"/>
                  <a:pt x="7416" y="5321"/>
                </a:cubicBezTo>
                <a:cubicBezTo>
                  <a:pt x="7423" y="5302"/>
                  <a:pt x="7410" y="5290"/>
                  <a:pt x="7436" y="5290"/>
                </a:cubicBezTo>
                <a:cubicBezTo>
                  <a:pt x="7436" y="5264"/>
                  <a:pt x="7416" y="5264"/>
                  <a:pt x="7410" y="5245"/>
                </a:cubicBezTo>
                <a:cubicBezTo>
                  <a:pt x="7402" y="5219"/>
                  <a:pt x="7428" y="5225"/>
                  <a:pt x="7422" y="5200"/>
                </a:cubicBezTo>
                <a:cubicBezTo>
                  <a:pt x="7403" y="5200"/>
                  <a:pt x="7397" y="5219"/>
                  <a:pt x="7371" y="5219"/>
                </a:cubicBezTo>
                <a:cubicBezTo>
                  <a:pt x="7371" y="5206"/>
                  <a:pt x="7383" y="5200"/>
                  <a:pt x="7383" y="5193"/>
                </a:cubicBezTo>
                <a:cubicBezTo>
                  <a:pt x="7351" y="5181"/>
                  <a:pt x="7332" y="5193"/>
                  <a:pt x="7306" y="5206"/>
                </a:cubicBezTo>
                <a:cubicBezTo>
                  <a:pt x="7293" y="5193"/>
                  <a:pt x="7320" y="5180"/>
                  <a:pt x="7326" y="5167"/>
                </a:cubicBezTo>
                <a:cubicBezTo>
                  <a:pt x="7301" y="5174"/>
                  <a:pt x="7293" y="5161"/>
                  <a:pt x="7281" y="5122"/>
                </a:cubicBezTo>
                <a:cubicBezTo>
                  <a:pt x="7236" y="5135"/>
                  <a:pt x="7216" y="5167"/>
                  <a:pt x="7203" y="5199"/>
                </a:cubicBezTo>
                <a:cubicBezTo>
                  <a:pt x="7191" y="5193"/>
                  <a:pt x="7184" y="5161"/>
                  <a:pt x="7165" y="5180"/>
                </a:cubicBezTo>
                <a:cubicBezTo>
                  <a:pt x="7184" y="5186"/>
                  <a:pt x="7196" y="5231"/>
                  <a:pt x="7216" y="5212"/>
                </a:cubicBezTo>
                <a:cubicBezTo>
                  <a:pt x="7229" y="5250"/>
                  <a:pt x="7152" y="5257"/>
                  <a:pt x="7132" y="5288"/>
                </a:cubicBezTo>
                <a:cubicBezTo>
                  <a:pt x="7120" y="5268"/>
                  <a:pt x="7094" y="5256"/>
                  <a:pt x="7087" y="5237"/>
                </a:cubicBezTo>
                <a:cubicBezTo>
                  <a:pt x="7061" y="5244"/>
                  <a:pt x="7094" y="5263"/>
                  <a:pt x="7068" y="5276"/>
                </a:cubicBezTo>
                <a:cubicBezTo>
                  <a:pt x="7061" y="5257"/>
                  <a:pt x="7061" y="5269"/>
                  <a:pt x="7048" y="5263"/>
                </a:cubicBezTo>
                <a:cubicBezTo>
                  <a:pt x="7041" y="5244"/>
                  <a:pt x="7061" y="5250"/>
                  <a:pt x="7061" y="5231"/>
                </a:cubicBezTo>
                <a:cubicBezTo>
                  <a:pt x="7054" y="5225"/>
                  <a:pt x="7054" y="5225"/>
                  <a:pt x="7054" y="5219"/>
                </a:cubicBezTo>
                <a:cubicBezTo>
                  <a:pt x="7022" y="5219"/>
                  <a:pt x="7003" y="5238"/>
                  <a:pt x="7015" y="5270"/>
                </a:cubicBezTo>
                <a:cubicBezTo>
                  <a:pt x="6990" y="5276"/>
                  <a:pt x="6990" y="5315"/>
                  <a:pt x="6970" y="5328"/>
                </a:cubicBezTo>
                <a:cubicBezTo>
                  <a:pt x="6958" y="5321"/>
                  <a:pt x="6990" y="5309"/>
                  <a:pt x="6970" y="5296"/>
                </a:cubicBezTo>
                <a:cubicBezTo>
                  <a:pt x="6964" y="5302"/>
                  <a:pt x="6958" y="5309"/>
                  <a:pt x="6958" y="5315"/>
                </a:cubicBezTo>
                <a:cubicBezTo>
                  <a:pt x="6938" y="5302"/>
                  <a:pt x="6964" y="5283"/>
                  <a:pt x="6964" y="5270"/>
                </a:cubicBezTo>
                <a:cubicBezTo>
                  <a:pt x="6945" y="5231"/>
                  <a:pt x="6880" y="5276"/>
                  <a:pt x="6848" y="5289"/>
                </a:cubicBezTo>
                <a:cubicBezTo>
                  <a:pt x="6855" y="5309"/>
                  <a:pt x="6868" y="5315"/>
                  <a:pt x="6868" y="5334"/>
                </a:cubicBezTo>
                <a:cubicBezTo>
                  <a:pt x="6888" y="5334"/>
                  <a:pt x="6888" y="5321"/>
                  <a:pt x="6894" y="5309"/>
                </a:cubicBezTo>
                <a:cubicBezTo>
                  <a:pt x="6900" y="5334"/>
                  <a:pt x="6926" y="5321"/>
                  <a:pt x="6933" y="5328"/>
                </a:cubicBezTo>
                <a:cubicBezTo>
                  <a:pt x="6939" y="5353"/>
                  <a:pt x="6894" y="5378"/>
                  <a:pt x="6888" y="5417"/>
                </a:cubicBezTo>
                <a:cubicBezTo>
                  <a:pt x="6900" y="5423"/>
                  <a:pt x="6946" y="5391"/>
                  <a:pt x="6926" y="5372"/>
                </a:cubicBezTo>
                <a:cubicBezTo>
                  <a:pt x="6926" y="5359"/>
                  <a:pt x="6959" y="5391"/>
                  <a:pt x="6965" y="5372"/>
                </a:cubicBezTo>
                <a:cubicBezTo>
                  <a:pt x="6971" y="5378"/>
                  <a:pt x="6933" y="5398"/>
                  <a:pt x="6959" y="5417"/>
                </a:cubicBezTo>
                <a:cubicBezTo>
                  <a:pt x="6881" y="5423"/>
                  <a:pt x="6824" y="5455"/>
                  <a:pt x="6765" y="5506"/>
                </a:cubicBezTo>
                <a:cubicBezTo>
                  <a:pt x="6765" y="5519"/>
                  <a:pt x="6771" y="5519"/>
                  <a:pt x="6771" y="5531"/>
                </a:cubicBezTo>
                <a:cubicBezTo>
                  <a:pt x="6739" y="5525"/>
                  <a:pt x="6733" y="5569"/>
                  <a:pt x="6713" y="5550"/>
                </a:cubicBezTo>
                <a:cubicBezTo>
                  <a:pt x="6719" y="5570"/>
                  <a:pt x="6719" y="5583"/>
                  <a:pt x="6713" y="5602"/>
                </a:cubicBezTo>
                <a:cubicBezTo>
                  <a:pt x="6707" y="5595"/>
                  <a:pt x="6707" y="5583"/>
                  <a:pt x="6707" y="5570"/>
                </a:cubicBezTo>
                <a:cubicBezTo>
                  <a:pt x="6700" y="5576"/>
                  <a:pt x="6693" y="5576"/>
                  <a:pt x="6687" y="5576"/>
                </a:cubicBezTo>
                <a:cubicBezTo>
                  <a:pt x="6661" y="5602"/>
                  <a:pt x="6681" y="5621"/>
                  <a:pt x="6693" y="5659"/>
                </a:cubicBezTo>
                <a:cubicBezTo>
                  <a:pt x="6738" y="5653"/>
                  <a:pt x="6732" y="5595"/>
                  <a:pt x="6771" y="5583"/>
                </a:cubicBezTo>
                <a:cubicBezTo>
                  <a:pt x="6771" y="5621"/>
                  <a:pt x="6764" y="5647"/>
                  <a:pt x="6726" y="5659"/>
                </a:cubicBezTo>
                <a:cubicBezTo>
                  <a:pt x="6726" y="5672"/>
                  <a:pt x="6752" y="5678"/>
                  <a:pt x="6752" y="5666"/>
                </a:cubicBezTo>
                <a:cubicBezTo>
                  <a:pt x="6752" y="5685"/>
                  <a:pt x="6758" y="5704"/>
                  <a:pt x="6764" y="5730"/>
                </a:cubicBezTo>
                <a:cubicBezTo>
                  <a:pt x="6784" y="5723"/>
                  <a:pt x="6790" y="5685"/>
                  <a:pt x="6823" y="5704"/>
                </a:cubicBezTo>
                <a:cubicBezTo>
                  <a:pt x="6816" y="5717"/>
                  <a:pt x="6829" y="5723"/>
                  <a:pt x="6829" y="5736"/>
                </a:cubicBezTo>
                <a:cubicBezTo>
                  <a:pt x="6804" y="5723"/>
                  <a:pt x="6798" y="5723"/>
                  <a:pt x="6778" y="5742"/>
                </a:cubicBezTo>
                <a:cubicBezTo>
                  <a:pt x="6784" y="5755"/>
                  <a:pt x="6784" y="5761"/>
                  <a:pt x="6790" y="5767"/>
                </a:cubicBezTo>
                <a:cubicBezTo>
                  <a:pt x="6771" y="5780"/>
                  <a:pt x="6752" y="5761"/>
                  <a:pt x="6732" y="5761"/>
                </a:cubicBezTo>
                <a:cubicBezTo>
                  <a:pt x="6739" y="5729"/>
                  <a:pt x="6739" y="5754"/>
                  <a:pt x="6752" y="5722"/>
                </a:cubicBezTo>
                <a:cubicBezTo>
                  <a:pt x="6752" y="5716"/>
                  <a:pt x="6732" y="5722"/>
                  <a:pt x="6732" y="5710"/>
                </a:cubicBezTo>
                <a:cubicBezTo>
                  <a:pt x="6726" y="5716"/>
                  <a:pt x="6726" y="5729"/>
                  <a:pt x="6719" y="5741"/>
                </a:cubicBezTo>
                <a:cubicBezTo>
                  <a:pt x="6707" y="5728"/>
                  <a:pt x="6726" y="5715"/>
                  <a:pt x="6719" y="5696"/>
                </a:cubicBezTo>
                <a:cubicBezTo>
                  <a:pt x="6707" y="5696"/>
                  <a:pt x="6687" y="5696"/>
                  <a:pt x="6687" y="5709"/>
                </a:cubicBezTo>
                <a:cubicBezTo>
                  <a:pt x="6687" y="5703"/>
                  <a:pt x="6674" y="5671"/>
                  <a:pt x="6642" y="5677"/>
                </a:cubicBezTo>
                <a:cubicBezTo>
                  <a:pt x="6642" y="5665"/>
                  <a:pt x="6648" y="5652"/>
                  <a:pt x="6668" y="5659"/>
                </a:cubicBezTo>
                <a:cubicBezTo>
                  <a:pt x="6648" y="5639"/>
                  <a:pt x="6668" y="5620"/>
                  <a:pt x="6642" y="5620"/>
                </a:cubicBezTo>
                <a:cubicBezTo>
                  <a:pt x="6636" y="5601"/>
                  <a:pt x="6655" y="5607"/>
                  <a:pt x="6662" y="5607"/>
                </a:cubicBezTo>
                <a:cubicBezTo>
                  <a:pt x="6668" y="5581"/>
                  <a:pt x="6642" y="5581"/>
                  <a:pt x="6642" y="5556"/>
                </a:cubicBezTo>
                <a:cubicBezTo>
                  <a:pt x="6655" y="5537"/>
                  <a:pt x="6693" y="5537"/>
                  <a:pt x="6687" y="5498"/>
                </a:cubicBezTo>
                <a:cubicBezTo>
                  <a:pt x="6610" y="5486"/>
                  <a:pt x="6591" y="5595"/>
                  <a:pt x="6532" y="5601"/>
                </a:cubicBezTo>
                <a:cubicBezTo>
                  <a:pt x="6532" y="5626"/>
                  <a:pt x="6525" y="5652"/>
                  <a:pt x="6545" y="5665"/>
                </a:cubicBezTo>
                <a:cubicBezTo>
                  <a:pt x="6545" y="5685"/>
                  <a:pt x="6526" y="5685"/>
                  <a:pt x="6532" y="5704"/>
                </a:cubicBezTo>
                <a:cubicBezTo>
                  <a:pt x="6494" y="5704"/>
                  <a:pt x="6494" y="5736"/>
                  <a:pt x="6467" y="5742"/>
                </a:cubicBezTo>
                <a:cubicBezTo>
                  <a:pt x="6474" y="5767"/>
                  <a:pt x="6493" y="5774"/>
                  <a:pt x="6519" y="5767"/>
                </a:cubicBezTo>
                <a:cubicBezTo>
                  <a:pt x="6525" y="5800"/>
                  <a:pt x="6499" y="5825"/>
                  <a:pt x="6460" y="5831"/>
                </a:cubicBezTo>
                <a:cubicBezTo>
                  <a:pt x="6447" y="5818"/>
                  <a:pt x="6473" y="5812"/>
                  <a:pt x="6473" y="5786"/>
                </a:cubicBezTo>
                <a:cubicBezTo>
                  <a:pt x="6467" y="5780"/>
                  <a:pt x="6453" y="5780"/>
                  <a:pt x="6441" y="5780"/>
                </a:cubicBezTo>
                <a:cubicBezTo>
                  <a:pt x="6447" y="5767"/>
                  <a:pt x="6467" y="5774"/>
                  <a:pt x="6467" y="5761"/>
                </a:cubicBezTo>
                <a:cubicBezTo>
                  <a:pt x="6441" y="5774"/>
                  <a:pt x="6415" y="5774"/>
                  <a:pt x="6389" y="5761"/>
                </a:cubicBezTo>
                <a:cubicBezTo>
                  <a:pt x="6389" y="5755"/>
                  <a:pt x="6402" y="5749"/>
                  <a:pt x="6402" y="5742"/>
                </a:cubicBezTo>
                <a:cubicBezTo>
                  <a:pt x="6389" y="5736"/>
                  <a:pt x="6383" y="5711"/>
                  <a:pt x="6357" y="5717"/>
                </a:cubicBezTo>
                <a:cubicBezTo>
                  <a:pt x="6351" y="5781"/>
                  <a:pt x="6253" y="5812"/>
                  <a:pt x="6286" y="5876"/>
                </a:cubicBezTo>
                <a:cubicBezTo>
                  <a:pt x="6267" y="5902"/>
                  <a:pt x="6261" y="5864"/>
                  <a:pt x="6241" y="5870"/>
                </a:cubicBezTo>
                <a:cubicBezTo>
                  <a:pt x="6215" y="5876"/>
                  <a:pt x="6208" y="5895"/>
                  <a:pt x="6182" y="5902"/>
                </a:cubicBezTo>
                <a:cubicBezTo>
                  <a:pt x="6176" y="5921"/>
                  <a:pt x="6195" y="5921"/>
                  <a:pt x="6189" y="5940"/>
                </a:cubicBezTo>
                <a:cubicBezTo>
                  <a:pt x="6156" y="5915"/>
                  <a:pt x="6137" y="5934"/>
                  <a:pt x="6105" y="5928"/>
                </a:cubicBezTo>
                <a:cubicBezTo>
                  <a:pt x="6073" y="5953"/>
                  <a:pt x="6047" y="5992"/>
                  <a:pt x="6002" y="5998"/>
                </a:cubicBezTo>
                <a:cubicBezTo>
                  <a:pt x="5982" y="6018"/>
                  <a:pt x="5969" y="6062"/>
                  <a:pt x="5930" y="6043"/>
                </a:cubicBezTo>
                <a:cubicBezTo>
                  <a:pt x="5930" y="6030"/>
                  <a:pt x="5943" y="6037"/>
                  <a:pt x="5943" y="6024"/>
                </a:cubicBezTo>
                <a:cubicBezTo>
                  <a:pt x="5937" y="6011"/>
                  <a:pt x="5937" y="5999"/>
                  <a:pt x="5917" y="6005"/>
                </a:cubicBezTo>
                <a:cubicBezTo>
                  <a:pt x="5897" y="6011"/>
                  <a:pt x="5897" y="6038"/>
                  <a:pt x="5897" y="6063"/>
                </a:cubicBezTo>
                <a:cubicBezTo>
                  <a:pt x="5890" y="6063"/>
                  <a:pt x="5878" y="6063"/>
                  <a:pt x="5878" y="6069"/>
                </a:cubicBezTo>
                <a:cubicBezTo>
                  <a:pt x="5858" y="6063"/>
                  <a:pt x="5884" y="6056"/>
                  <a:pt x="5890" y="6050"/>
                </a:cubicBezTo>
                <a:cubicBezTo>
                  <a:pt x="5878" y="6050"/>
                  <a:pt x="5864" y="6025"/>
                  <a:pt x="5852" y="6038"/>
                </a:cubicBezTo>
                <a:cubicBezTo>
                  <a:pt x="5832" y="6044"/>
                  <a:pt x="5858" y="6050"/>
                  <a:pt x="5852" y="6063"/>
                </a:cubicBezTo>
                <a:cubicBezTo>
                  <a:pt x="5799" y="6069"/>
                  <a:pt x="5787" y="6108"/>
                  <a:pt x="5748" y="6120"/>
                </a:cubicBezTo>
                <a:cubicBezTo>
                  <a:pt x="5748" y="6108"/>
                  <a:pt x="5748" y="6089"/>
                  <a:pt x="5728" y="6095"/>
                </a:cubicBezTo>
                <a:cubicBezTo>
                  <a:pt x="5728" y="6146"/>
                  <a:pt x="5638" y="6159"/>
                  <a:pt x="5592" y="6159"/>
                </a:cubicBezTo>
                <a:cubicBezTo>
                  <a:pt x="5592" y="6134"/>
                  <a:pt x="5612" y="6165"/>
                  <a:pt x="5612" y="6140"/>
                </a:cubicBezTo>
                <a:cubicBezTo>
                  <a:pt x="5592" y="6134"/>
                  <a:pt x="5554" y="6147"/>
                  <a:pt x="5554" y="6179"/>
                </a:cubicBezTo>
                <a:cubicBezTo>
                  <a:pt x="5509" y="6179"/>
                  <a:pt x="5457" y="6173"/>
                  <a:pt x="5470" y="6204"/>
                </a:cubicBezTo>
                <a:cubicBezTo>
                  <a:pt x="5457" y="6204"/>
                  <a:pt x="5450" y="6210"/>
                  <a:pt x="5438" y="6210"/>
                </a:cubicBezTo>
                <a:cubicBezTo>
                  <a:pt x="5412" y="6268"/>
                  <a:pt x="5309" y="6312"/>
                  <a:pt x="5251" y="6300"/>
                </a:cubicBezTo>
                <a:cubicBezTo>
                  <a:pt x="5244" y="6312"/>
                  <a:pt x="5244" y="6338"/>
                  <a:pt x="5244" y="6357"/>
                </a:cubicBezTo>
                <a:cubicBezTo>
                  <a:pt x="5264" y="6345"/>
                  <a:pt x="5283" y="6338"/>
                  <a:pt x="5303" y="6332"/>
                </a:cubicBezTo>
                <a:cubicBezTo>
                  <a:pt x="5296" y="6358"/>
                  <a:pt x="5251" y="6371"/>
                  <a:pt x="5199" y="6377"/>
                </a:cubicBezTo>
                <a:cubicBezTo>
                  <a:pt x="5231" y="6345"/>
                  <a:pt x="5173" y="6377"/>
                  <a:pt x="5179" y="6338"/>
                </a:cubicBezTo>
                <a:cubicBezTo>
                  <a:pt x="5127" y="6345"/>
                  <a:pt x="5102" y="6377"/>
                  <a:pt x="5076" y="6409"/>
                </a:cubicBezTo>
                <a:cubicBezTo>
                  <a:pt x="5056" y="6402"/>
                  <a:pt x="5089" y="6390"/>
                  <a:pt x="5082" y="6377"/>
                </a:cubicBezTo>
                <a:cubicBezTo>
                  <a:pt x="5044" y="6383"/>
                  <a:pt x="5044" y="6422"/>
                  <a:pt x="5011" y="6441"/>
                </a:cubicBezTo>
                <a:cubicBezTo>
                  <a:pt x="4999" y="6416"/>
                  <a:pt x="4934" y="6448"/>
                  <a:pt x="4928" y="6409"/>
                </a:cubicBezTo>
                <a:cubicBezTo>
                  <a:pt x="4863" y="6428"/>
                  <a:pt x="4812" y="6467"/>
                  <a:pt x="4753" y="6486"/>
                </a:cubicBezTo>
                <a:cubicBezTo>
                  <a:pt x="4773" y="6518"/>
                  <a:pt x="4805" y="6466"/>
                  <a:pt x="4818" y="6505"/>
                </a:cubicBezTo>
                <a:cubicBezTo>
                  <a:pt x="4818" y="6485"/>
                  <a:pt x="4863" y="6473"/>
                  <a:pt x="4889" y="6460"/>
                </a:cubicBezTo>
                <a:cubicBezTo>
                  <a:pt x="4895" y="6479"/>
                  <a:pt x="4876" y="6485"/>
                  <a:pt x="4889" y="6485"/>
                </a:cubicBezTo>
                <a:cubicBezTo>
                  <a:pt x="4843" y="6504"/>
                  <a:pt x="4811" y="6537"/>
                  <a:pt x="4759" y="6543"/>
                </a:cubicBezTo>
                <a:cubicBezTo>
                  <a:pt x="4759" y="6543"/>
                  <a:pt x="4759" y="6543"/>
                  <a:pt x="4759" y="6568"/>
                </a:cubicBezTo>
                <a:cubicBezTo>
                  <a:pt x="4785" y="6568"/>
                  <a:pt x="4804" y="6562"/>
                  <a:pt x="4798" y="6537"/>
                </a:cubicBezTo>
                <a:cubicBezTo>
                  <a:pt x="4817" y="6543"/>
                  <a:pt x="4824" y="6549"/>
                  <a:pt x="4837" y="6549"/>
                </a:cubicBezTo>
                <a:cubicBezTo>
                  <a:pt x="4947" y="6499"/>
                  <a:pt x="5056" y="6447"/>
                  <a:pt x="5172" y="6396"/>
                </a:cubicBezTo>
                <a:cubicBezTo>
                  <a:pt x="5186" y="6402"/>
                  <a:pt x="5192" y="6409"/>
                  <a:pt x="5198" y="6409"/>
                </a:cubicBezTo>
                <a:cubicBezTo>
                  <a:pt x="5237" y="6389"/>
                  <a:pt x="5270" y="6370"/>
                  <a:pt x="5308" y="6357"/>
                </a:cubicBezTo>
                <a:cubicBezTo>
                  <a:pt x="5289" y="6415"/>
                  <a:pt x="5218" y="6428"/>
                  <a:pt x="5153" y="6440"/>
                </a:cubicBezTo>
                <a:cubicBezTo>
                  <a:pt x="5160" y="6472"/>
                  <a:pt x="5186" y="6484"/>
                  <a:pt x="5186" y="6529"/>
                </a:cubicBezTo>
                <a:cubicBezTo>
                  <a:pt x="5199" y="6510"/>
                  <a:pt x="5225" y="6504"/>
                  <a:pt x="5251" y="6498"/>
                </a:cubicBezTo>
                <a:cubicBezTo>
                  <a:pt x="5251" y="6510"/>
                  <a:pt x="5257" y="6510"/>
                  <a:pt x="5263" y="6517"/>
                </a:cubicBezTo>
                <a:cubicBezTo>
                  <a:pt x="5244" y="6543"/>
                  <a:pt x="5218" y="6562"/>
                  <a:pt x="5186" y="6574"/>
                </a:cubicBezTo>
                <a:cubicBezTo>
                  <a:pt x="5206" y="6581"/>
                  <a:pt x="5192" y="6600"/>
                  <a:pt x="5186" y="6619"/>
                </a:cubicBezTo>
                <a:cubicBezTo>
                  <a:pt x="5212" y="6638"/>
                  <a:pt x="5283" y="6574"/>
                  <a:pt x="5296" y="6632"/>
                </a:cubicBezTo>
                <a:cubicBezTo>
                  <a:pt x="5251" y="6651"/>
                  <a:pt x="5212" y="6600"/>
                  <a:pt x="5225" y="6664"/>
                </a:cubicBezTo>
                <a:cubicBezTo>
                  <a:pt x="5186" y="6689"/>
                  <a:pt x="5121" y="6683"/>
                  <a:pt x="5095" y="6740"/>
                </a:cubicBezTo>
                <a:cubicBezTo>
                  <a:pt x="5075" y="6747"/>
                  <a:pt x="5063" y="6753"/>
                  <a:pt x="5037" y="6747"/>
                </a:cubicBezTo>
                <a:cubicBezTo>
                  <a:pt x="5029" y="6721"/>
                  <a:pt x="5037" y="6690"/>
                  <a:pt x="5049" y="6651"/>
                </a:cubicBezTo>
                <a:cubicBezTo>
                  <a:pt x="4881" y="6670"/>
                  <a:pt x="4759" y="6779"/>
                  <a:pt x="4584" y="6804"/>
                </a:cubicBezTo>
                <a:cubicBezTo>
                  <a:pt x="4564" y="6836"/>
                  <a:pt x="4533" y="6849"/>
                  <a:pt x="4513" y="6874"/>
                </a:cubicBezTo>
                <a:cubicBezTo>
                  <a:pt x="4513" y="6887"/>
                  <a:pt x="4520" y="6893"/>
                  <a:pt x="4533" y="6893"/>
                </a:cubicBezTo>
                <a:lnTo>
                  <a:pt x="4539" y="6893"/>
                </a:lnTo>
                <a:cubicBezTo>
                  <a:pt x="4533" y="6893"/>
                  <a:pt x="4533" y="6900"/>
                  <a:pt x="4533" y="6906"/>
                </a:cubicBezTo>
                <a:cubicBezTo>
                  <a:pt x="4494" y="6893"/>
                  <a:pt x="4488" y="6945"/>
                  <a:pt x="4449" y="6945"/>
                </a:cubicBezTo>
                <a:cubicBezTo>
                  <a:pt x="4449" y="6965"/>
                  <a:pt x="4443" y="6977"/>
                  <a:pt x="4436" y="6990"/>
                </a:cubicBezTo>
                <a:cubicBezTo>
                  <a:pt x="4424" y="6990"/>
                  <a:pt x="4404" y="6977"/>
                  <a:pt x="4398" y="6990"/>
                </a:cubicBezTo>
                <a:cubicBezTo>
                  <a:pt x="4385" y="6990"/>
                  <a:pt x="4398" y="6971"/>
                  <a:pt x="4398" y="6965"/>
                </a:cubicBezTo>
                <a:cubicBezTo>
                  <a:pt x="4307" y="6920"/>
                  <a:pt x="4262" y="7028"/>
                  <a:pt x="4146" y="7010"/>
                </a:cubicBezTo>
                <a:cubicBezTo>
                  <a:pt x="4178" y="6990"/>
                  <a:pt x="4223" y="6983"/>
                  <a:pt x="4262" y="6965"/>
                </a:cubicBezTo>
                <a:cubicBezTo>
                  <a:pt x="4262" y="6958"/>
                  <a:pt x="4249" y="6958"/>
                  <a:pt x="4249" y="6952"/>
                </a:cubicBezTo>
                <a:cubicBezTo>
                  <a:pt x="4288" y="6965"/>
                  <a:pt x="4340" y="6946"/>
                  <a:pt x="4353" y="6901"/>
                </a:cubicBezTo>
                <a:cubicBezTo>
                  <a:pt x="4301" y="6901"/>
                  <a:pt x="4243" y="6933"/>
                  <a:pt x="4172" y="6946"/>
                </a:cubicBezTo>
                <a:cubicBezTo>
                  <a:pt x="4275" y="6888"/>
                  <a:pt x="4399" y="6856"/>
                  <a:pt x="4521" y="6811"/>
                </a:cubicBezTo>
                <a:cubicBezTo>
                  <a:pt x="4528" y="6811"/>
                  <a:pt x="4528" y="6818"/>
                  <a:pt x="4541" y="6818"/>
                </a:cubicBezTo>
                <a:cubicBezTo>
                  <a:pt x="4682" y="6728"/>
                  <a:pt x="4870" y="6677"/>
                  <a:pt x="5025" y="6600"/>
                </a:cubicBezTo>
                <a:cubicBezTo>
                  <a:pt x="5044" y="6524"/>
                  <a:pt x="5128" y="6550"/>
                  <a:pt x="5173" y="6505"/>
                </a:cubicBezTo>
                <a:cubicBezTo>
                  <a:pt x="5173" y="6492"/>
                  <a:pt x="5147" y="6499"/>
                  <a:pt x="5153" y="6473"/>
                </a:cubicBezTo>
                <a:cubicBezTo>
                  <a:pt x="5127" y="6492"/>
                  <a:pt x="5095" y="6473"/>
                  <a:pt x="5063" y="6480"/>
                </a:cubicBezTo>
                <a:cubicBezTo>
                  <a:pt x="4992" y="6544"/>
                  <a:pt x="4882" y="6563"/>
                  <a:pt x="4798" y="6608"/>
                </a:cubicBezTo>
                <a:cubicBezTo>
                  <a:pt x="4785" y="6601"/>
                  <a:pt x="4798" y="6601"/>
                  <a:pt x="4798" y="6589"/>
                </a:cubicBezTo>
                <a:cubicBezTo>
                  <a:pt x="4779" y="6589"/>
                  <a:pt x="4766" y="6601"/>
                  <a:pt x="4753" y="6589"/>
                </a:cubicBezTo>
                <a:cubicBezTo>
                  <a:pt x="4740" y="6575"/>
                  <a:pt x="4759" y="6569"/>
                  <a:pt x="4753" y="6544"/>
                </a:cubicBezTo>
                <a:cubicBezTo>
                  <a:pt x="4714" y="6570"/>
                  <a:pt x="4669" y="6601"/>
                  <a:pt x="4617" y="6589"/>
                </a:cubicBezTo>
                <a:cubicBezTo>
                  <a:pt x="4604" y="6596"/>
                  <a:pt x="4604" y="6615"/>
                  <a:pt x="4591" y="6627"/>
                </a:cubicBezTo>
                <a:cubicBezTo>
                  <a:pt x="4494" y="6653"/>
                  <a:pt x="4417" y="6685"/>
                  <a:pt x="4346" y="6730"/>
                </a:cubicBezTo>
                <a:cubicBezTo>
                  <a:pt x="4410" y="6775"/>
                  <a:pt x="4481" y="6711"/>
                  <a:pt x="4533" y="6724"/>
                </a:cubicBezTo>
                <a:cubicBezTo>
                  <a:pt x="4520" y="6749"/>
                  <a:pt x="4488" y="6755"/>
                  <a:pt x="4449" y="6755"/>
                </a:cubicBezTo>
                <a:cubicBezTo>
                  <a:pt x="4378" y="6793"/>
                  <a:pt x="4301" y="6832"/>
                  <a:pt x="4203" y="6851"/>
                </a:cubicBezTo>
                <a:cubicBezTo>
                  <a:pt x="4203" y="6838"/>
                  <a:pt x="4216" y="6838"/>
                  <a:pt x="4210" y="6819"/>
                </a:cubicBezTo>
                <a:cubicBezTo>
                  <a:pt x="4126" y="6819"/>
                  <a:pt x="4132" y="6908"/>
                  <a:pt x="4055" y="6908"/>
                </a:cubicBezTo>
                <a:cubicBezTo>
                  <a:pt x="4016" y="6877"/>
                  <a:pt x="3932" y="6852"/>
                  <a:pt x="3887" y="6877"/>
                </a:cubicBezTo>
                <a:cubicBezTo>
                  <a:pt x="3751" y="6877"/>
                  <a:pt x="3686" y="6934"/>
                  <a:pt x="3570" y="6972"/>
                </a:cubicBezTo>
                <a:cubicBezTo>
                  <a:pt x="3570" y="7010"/>
                  <a:pt x="3518" y="7043"/>
                  <a:pt x="3473" y="7049"/>
                </a:cubicBezTo>
                <a:cubicBezTo>
                  <a:pt x="3473" y="7030"/>
                  <a:pt x="3499" y="7036"/>
                  <a:pt x="3499" y="7024"/>
                </a:cubicBezTo>
                <a:cubicBezTo>
                  <a:pt x="3499" y="6992"/>
                  <a:pt x="3447" y="7011"/>
                  <a:pt x="3434" y="6992"/>
                </a:cubicBezTo>
                <a:cubicBezTo>
                  <a:pt x="3441" y="6967"/>
                  <a:pt x="3479" y="7006"/>
                  <a:pt x="3486" y="6967"/>
                </a:cubicBezTo>
                <a:cubicBezTo>
                  <a:pt x="3427" y="6941"/>
                  <a:pt x="3350" y="6992"/>
                  <a:pt x="3285" y="6992"/>
                </a:cubicBezTo>
                <a:cubicBezTo>
                  <a:pt x="3317" y="6941"/>
                  <a:pt x="3420" y="6953"/>
                  <a:pt x="3479" y="6928"/>
                </a:cubicBezTo>
                <a:cubicBezTo>
                  <a:pt x="3479" y="6916"/>
                  <a:pt x="3452" y="6928"/>
                  <a:pt x="3446" y="6922"/>
                </a:cubicBezTo>
                <a:cubicBezTo>
                  <a:pt x="3465" y="6909"/>
                  <a:pt x="3446" y="6890"/>
                  <a:pt x="3420" y="6890"/>
                </a:cubicBezTo>
                <a:cubicBezTo>
                  <a:pt x="3427" y="6871"/>
                  <a:pt x="3434" y="6858"/>
                  <a:pt x="3440" y="6845"/>
                </a:cubicBezTo>
                <a:cubicBezTo>
                  <a:pt x="3446" y="6871"/>
                  <a:pt x="3498" y="6852"/>
                  <a:pt x="3479" y="6871"/>
                </a:cubicBezTo>
                <a:cubicBezTo>
                  <a:pt x="3498" y="6871"/>
                  <a:pt x="3486" y="6852"/>
                  <a:pt x="3498" y="6845"/>
                </a:cubicBezTo>
                <a:cubicBezTo>
                  <a:pt x="3518" y="6852"/>
                  <a:pt x="3505" y="6858"/>
                  <a:pt x="3498" y="6871"/>
                </a:cubicBezTo>
                <a:cubicBezTo>
                  <a:pt x="3498" y="6896"/>
                  <a:pt x="3531" y="6858"/>
                  <a:pt x="3524" y="6889"/>
                </a:cubicBezTo>
                <a:cubicBezTo>
                  <a:pt x="3544" y="6889"/>
                  <a:pt x="3544" y="6863"/>
                  <a:pt x="3544" y="6838"/>
                </a:cubicBezTo>
                <a:cubicBezTo>
                  <a:pt x="3564" y="6832"/>
                  <a:pt x="3564" y="6844"/>
                  <a:pt x="3576" y="6844"/>
                </a:cubicBezTo>
                <a:cubicBezTo>
                  <a:pt x="3576" y="6819"/>
                  <a:pt x="3551" y="6819"/>
                  <a:pt x="3531" y="6813"/>
                </a:cubicBezTo>
                <a:cubicBezTo>
                  <a:pt x="3519" y="6813"/>
                  <a:pt x="3538" y="6844"/>
                  <a:pt x="3525" y="6838"/>
                </a:cubicBezTo>
                <a:cubicBezTo>
                  <a:pt x="3493" y="6838"/>
                  <a:pt x="3525" y="6826"/>
                  <a:pt x="3525" y="6807"/>
                </a:cubicBezTo>
                <a:cubicBezTo>
                  <a:pt x="3493" y="6807"/>
                  <a:pt x="3505" y="6820"/>
                  <a:pt x="3499" y="6845"/>
                </a:cubicBezTo>
                <a:cubicBezTo>
                  <a:pt x="3474" y="6845"/>
                  <a:pt x="3474" y="6814"/>
                  <a:pt x="3448" y="6814"/>
                </a:cubicBezTo>
                <a:cubicBezTo>
                  <a:pt x="3448" y="6776"/>
                  <a:pt x="3441" y="6763"/>
                  <a:pt x="3448" y="6724"/>
                </a:cubicBezTo>
                <a:cubicBezTo>
                  <a:pt x="3473" y="6743"/>
                  <a:pt x="3479" y="6718"/>
                  <a:pt x="3499" y="6724"/>
                </a:cubicBezTo>
                <a:cubicBezTo>
                  <a:pt x="3493" y="6673"/>
                  <a:pt x="3428" y="6654"/>
                  <a:pt x="3428" y="6616"/>
                </a:cubicBezTo>
                <a:cubicBezTo>
                  <a:pt x="3409" y="6622"/>
                  <a:pt x="3363" y="6661"/>
                  <a:pt x="3389" y="6673"/>
                </a:cubicBezTo>
                <a:cubicBezTo>
                  <a:pt x="3377" y="6666"/>
                  <a:pt x="3312" y="6660"/>
                  <a:pt x="3312" y="6705"/>
                </a:cubicBezTo>
                <a:cubicBezTo>
                  <a:pt x="3287" y="6711"/>
                  <a:pt x="3280" y="6692"/>
                  <a:pt x="3261" y="6692"/>
                </a:cubicBezTo>
                <a:cubicBezTo>
                  <a:pt x="3228" y="6717"/>
                  <a:pt x="3190" y="6794"/>
                  <a:pt x="3144" y="6769"/>
                </a:cubicBezTo>
                <a:cubicBezTo>
                  <a:pt x="3048" y="6833"/>
                  <a:pt x="2919" y="6871"/>
                  <a:pt x="2848" y="6961"/>
                </a:cubicBezTo>
                <a:cubicBezTo>
                  <a:pt x="2815" y="6980"/>
                  <a:pt x="2803" y="7012"/>
                  <a:pt x="2770" y="7025"/>
                </a:cubicBezTo>
                <a:cubicBezTo>
                  <a:pt x="2744" y="7018"/>
                  <a:pt x="2719" y="7012"/>
                  <a:pt x="2693" y="7006"/>
                </a:cubicBezTo>
                <a:cubicBezTo>
                  <a:pt x="2705" y="6987"/>
                  <a:pt x="2686" y="6961"/>
                  <a:pt x="2699" y="6935"/>
                </a:cubicBezTo>
                <a:cubicBezTo>
                  <a:pt x="2660" y="6916"/>
                  <a:pt x="2634" y="6884"/>
                  <a:pt x="2602" y="6859"/>
                </a:cubicBezTo>
                <a:cubicBezTo>
                  <a:pt x="2596" y="6782"/>
                  <a:pt x="2506" y="6795"/>
                  <a:pt x="2447" y="6776"/>
                </a:cubicBezTo>
                <a:cubicBezTo>
                  <a:pt x="2480" y="6687"/>
                  <a:pt x="2493" y="6610"/>
                  <a:pt x="2577" y="6559"/>
                </a:cubicBezTo>
                <a:cubicBezTo>
                  <a:pt x="2564" y="6539"/>
                  <a:pt x="2551" y="6507"/>
                  <a:pt x="2525" y="6520"/>
                </a:cubicBezTo>
                <a:cubicBezTo>
                  <a:pt x="2512" y="6500"/>
                  <a:pt x="2518" y="6494"/>
                  <a:pt x="2506" y="6475"/>
                </a:cubicBezTo>
                <a:cubicBezTo>
                  <a:pt x="2480" y="6475"/>
                  <a:pt x="2473" y="6488"/>
                  <a:pt x="2447" y="6488"/>
                </a:cubicBezTo>
                <a:cubicBezTo>
                  <a:pt x="2447" y="6475"/>
                  <a:pt x="2467" y="6481"/>
                  <a:pt x="2467" y="6469"/>
                </a:cubicBezTo>
                <a:cubicBezTo>
                  <a:pt x="2461" y="6450"/>
                  <a:pt x="2454" y="6469"/>
                  <a:pt x="2435" y="6462"/>
                </a:cubicBezTo>
                <a:cubicBezTo>
                  <a:pt x="2427" y="6450"/>
                  <a:pt x="2447" y="6456"/>
                  <a:pt x="2447" y="6443"/>
                </a:cubicBezTo>
                <a:cubicBezTo>
                  <a:pt x="2427" y="6418"/>
                  <a:pt x="2389" y="6399"/>
                  <a:pt x="2356" y="6418"/>
                </a:cubicBezTo>
                <a:cubicBezTo>
                  <a:pt x="2350" y="6392"/>
                  <a:pt x="2304" y="6386"/>
                  <a:pt x="2259" y="6379"/>
                </a:cubicBezTo>
                <a:cubicBezTo>
                  <a:pt x="2273" y="6366"/>
                  <a:pt x="2259" y="6341"/>
                  <a:pt x="2247" y="6341"/>
                </a:cubicBezTo>
                <a:cubicBezTo>
                  <a:pt x="2247" y="6321"/>
                  <a:pt x="2266" y="6321"/>
                  <a:pt x="2259" y="6296"/>
                </a:cubicBezTo>
                <a:cubicBezTo>
                  <a:pt x="2233" y="6282"/>
                  <a:pt x="2214" y="6257"/>
                  <a:pt x="2188" y="6251"/>
                </a:cubicBezTo>
                <a:cubicBezTo>
                  <a:pt x="2208" y="6161"/>
                  <a:pt x="2124" y="6174"/>
                  <a:pt x="2104" y="6219"/>
                </a:cubicBezTo>
                <a:cubicBezTo>
                  <a:pt x="2112" y="6233"/>
                  <a:pt x="2112" y="6251"/>
                  <a:pt x="2124" y="6258"/>
                </a:cubicBezTo>
                <a:cubicBezTo>
                  <a:pt x="2118" y="6277"/>
                  <a:pt x="2112" y="6290"/>
                  <a:pt x="2118" y="6315"/>
                </a:cubicBezTo>
                <a:cubicBezTo>
                  <a:pt x="2092" y="6367"/>
                  <a:pt x="2034" y="6386"/>
                  <a:pt x="2014" y="6443"/>
                </a:cubicBezTo>
                <a:cubicBezTo>
                  <a:pt x="1969" y="6443"/>
                  <a:pt x="1917" y="6443"/>
                  <a:pt x="1879" y="6443"/>
                </a:cubicBezTo>
                <a:cubicBezTo>
                  <a:pt x="1846" y="6476"/>
                  <a:pt x="1800" y="6495"/>
                  <a:pt x="1788" y="6546"/>
                </a:cubicBezTo>
                <a:cubicBezTo>
                  <a:pt x="1788" y="6565"/>
                  <a:pt x="1794" y="6565"/>
                  <a:pt x="1814" y="6565"/>
                </a:cubicBezTo>
                <a:cubicBezTo>
                  <a:pt x="1768" y="6635"/>
                  <a:pt x="1672" y="6610"/>
                  <a:pt x="1607" y="6629"/>
                </a:cubicBezTo>
                <a:cubicBezTo>
                  <a:pt x="1601" y="6610"/>
                  <a:pt x="1627" y="6616"/>
                  <a:pt x="1627" y="6597"/>
                </a:cubicBezTo>
                <a:cubicBezTo>
                  <a:pt x="1594" y="6604"/>
                  <a:pt x="1575" y="6610"/>
                  <a:pt x="1556" y="6623"/>
                </a:cubicBezTo>
                <a:cubicBezTo>
                  <a:pt x="1537" y="6609"/>
                  <a:pt x="1556" y="6578"/>
                  <a:pt x="1517" y="6578"/>
                </a:cubicBezTo>
                <a:cubicBezTo>
                  <a:pt x="1569" y="6514"/>
                  <a:pt x="1659" y="6495"/>
                  <a:pt x="1718" y="6443"/>
                </a:cubicBezTo>
                <a:cubicBezTo>
                  <a:pt x="1744" y="6476"/>
                  <a:pt x="1802" y="6456"/>
                  <a:pt x="1815" y="6431"/>
                </a:cubicBezTo>
                <a:cubicBezTo>
                  <a:pt x="1815" y="6412"/>
                  <a:pt x="1796" y="6418"/>
                  <a:pt x="1776" y="6418"/>
                </a:cubicBezTo>
                <a:cubicBezTo>
                  <a:pt x="1782" y="6392"/>
                  <a:pt x="1808" y="6386"/>
                  <a:pt x="1808" y="6360"/>
                </a:cubicBezTo>
                <a:cubicBezTo>
                  <a:pt x="1802" y="6335"/>
                  <a:pt x="1789" y="6354"/>
                  <a:pt x="1770" y="6354"/>
                </a:cubicBezTo>
                <a:cubicBezTo>
                  <a:pt x="1815" y="6290"/>
                  <a:pt x="1924" y="6297"/>
                  <a:pt x="1944" y="6207"/>
                </a:cubicBezTo>
                <a:cubicBezTo>
                  <a:pt x="1924" y="6188"/>
                  <a:pt x="1931" y="6175"/>
                  <a:pt x="1918" y="6143"/>
                </a:cubicBezTo>
                <a:cubicBezTo>
                  <a:pt x="1802" y="6136"/>
                  <a:pt x="1757" y="6239"/>
                  <a:pt x="1666" y="6239"/>
                </a:cubicBezTo>
                <a:cubicBezTo>
                  <a:pt x="1666" y="6214"/>
                  <a:pt x="1725" y="6239"/>
                  <a:pt x="1705" y="6207"/>
                </a:cubicBezTo>
                <a:cubicBezTo>
                  <a:pt x="1769" y="6201"/>
                  <a:pt x="1782" y="6143"/>
                  <a:pt x="1827" y="6124"/>
                </a:cubicBezTo>
                <a:cubicBezTo>
                  <a:pt x="1821" y="6112"/>
                  <a:pt x="1834" y="6086"/>
                  <a:pt x="1815" y="6093"/>
                </a:cubicBezTo>
                <a:cubicBezTo>
                  <a:pt x="1834" y="6068"/>
                  <a:pt x="1860" y="6048"/>
                  <a:pt x="1879" y="6023"/>
                </a:cubicBezTo>
                <a:cubicBezTo>
                  <a:pt x="1853" y="6010"/>
                  <a:pt x="1893" y="5990"/>
                  <a:pt x="1873" y="5971"/>
                </a:cubicBezTo>
                <a:cubicBezTo>
                  <a:pt x="1834" y="5996"/>
                  <a:pt x="1796" y="6016"/>
                  <a:pt x="1763" y="6041"/>
                </a:cubicBezTo>
                <a:cubicBezTo>
                  <a:pt x="1763" y="6060"/>
                  <a:pt x="1789" y="6048"/>
                  <a:pt x="1789" y="6060"/>
                </a:cubicBezTo>
                <a:cubicBezTo>
                  <a:pt x="1802" y="6073"/>
                  <a:pt x="1789" y="6086"/>
                  <a:pt x="1770" y="6086"/>
                </a:cubicBezTo>
                <a:cubicBezTo>
                  <a:pt x="1770" y="6098"/>
                  <a:pt x="1796" y="6086"/>
                  <a:pt x="1802" y="6092"/>
                </a:cubicBezTo>
                <a:cubicBezTo>
                  <a:pt x="1770" y="6117"/>
                  <a:pt x="1725" y="6137"/>
                  <a:pt x="1699" y="6169"/>
                </a:cubicBezTo>
                <a:cubicBezTo>
                  <a:pt x="1680" y="6136"/>
                  <a:pt x="1744" y="6130"/>
                  <a:pt x="1763" y="6111"/>
                </a:cubicBezTo>
                <a:cubicBezTo>
                  <a:pt x="1757" y="6047"/>
                  <a:pt x="1699" y="6066"/>
                  <a:pt x="1647" y="6072"/>
                </a:cubicBezTo>
                <a:cubicBezTo>
                  <a:pt x="1666" y="6060"/>
                  <a:pt x="1673" y="6021"/>
                  <a:pt x="1660" y="6015"/>
                </a:cubicBezTo>
                <a:cubicBezTo>
                  <a:pt x="1685" y="6008"/>
                  <a:pt x="1691" y="5963"/>
                  <a:pt x="1711" y="5976"/>
                </a:cubicBezTo>
                <a:cubicBezTo>
                  <a:pt x="1718" y="5956"/>
                  <a:pt x="1704" y="5950"/>
                  <a:pt x="1724" y="5937"/>
                </a:cubicBezTo>
                <a:cubicBezTo>
                  <a:pt x="1691" y="5925"/>
                  <a:pt x="1672" y="6001"/>
                  <a:pt x="1627" y="5989"/>
                </a:cubicBezTo>
                <a:cubicBezTo>
                  <a:pt x="1613" y="5995"/>
                  <a:pt x="1607" y="6001"/>
                  <a:pt x="1607" y="6008"/>
                </a:cubicBezTo>
                <a:cubicBezTo>
                  <a:pt x="1620" y="6020"/>
                  <a:pt x="1613" y="5989"/>
                  <a:pt x="1639" y="6001"/>
                </a:cubicBezTo>
                <a:cubicBezTo>
                  <a:pt x="1639" y="6015"/>
                  <a:pt x="1607" y="6027"/>
                  <a:pt x="1633" y="6040"/>
                </a:cubicBezTo>
                <a:cubicBezTo>
                  <a:pt x="1627" y="6053"/>
                  <a:pt x="1568" y="6027"/>
                  <a:pt x="1594" y="6059"/>
                </a:cubicBezTo>
                <a:cubicBezTo>
                  <a:pt x="1575" y="6065"/>
                  <a:pt x="1556" y="6065"/>
                  <a:pt x="1543" y="6071"/>
                </a:cubicBezTo>
                <a:cubicBezTo>
                  <a:pt x="1523" y="6053"/>
                  <a:pt x="1562" y="6065"/>
                  <a:pt x="1556" y="6040"/>
                </a:cubicBezTo>
                <a:cubicBezTo>
                  <a:pt x="1543" y="6027"/>
                  <a:pt x="1530" y="6053"/>
                  <a:pt x="1517" y="6059"/>
                </a:cubicBezTo>
                <a:cubicBezTo>
                  <a:pt x="1511" y="6090"/>
                  <a:pt x="1530" y="6078"/>
                  <a:pt x="1537" y="6084"/>
                </a:cubicBezTo>
                <a:cubicBezTo>
                  <a:pt x="1543" y="6109"/>
                  <a:pt x="1517" y="6078"/>
                  <a:pt x="1517" y="6097"/>
                </a:cubicBezTo>
                <a:cubicBezTo>
                  <a:pt x="1510" y="6084"/>
                  <a:pt x="1517" y="6078"/>
                  <a:pt x="1497" y="6065"/>
                </a:cubicBezTo>
                <a:cubicBezTo>
                  <a:pt x="1485" y="6091"/>
                  <a:pt x="1432" y="6078"/>
                  <a:pt x="1426" y="6116"/>
                </a:cubicBezTo>
                <a:cubicBezTo>
                  <a:pt x="1374" y="6097"/>
                  <a:pt x="1374" y="6142"/>
                  <a:pt x="1329" y="6135"/>
                </a:cubicBezTo>
                <a:cubicBezTo>
                  <a:pt x="1309" y="6135"/>
                  <a:pt x="1335" y="6129"/>
                  <a:pt x="1342" y="6129"/>
                </a:cubicBezTo>
                <a:cubicBezTo>
                  <a:pt x="1368" y="6104"/>
                  <a:pt x="1387" y="6071"/>
                  <a:pt x="1432" y="6065"/>
                </a:cubicBezTo>
                <a:cubicBezTo>
                  <a:pt x="1471" y="6020"/>
                  <a:pt x="1516" y="5982"/>
                  <a:pt x="1555" y="5937"/>
                </a:cubicBezTo>
                <a:cubicBezTo>
                  <a:pt x="1575" y="5937"/>
                  <a:pt x="1600" y="5937"/>
                  <a:pt x="1620" y="5944"/>
                </a:cubicBezTo>
                <a:lnTo>
                  <a:pt x="1626" y="5937"/>
                </a:lnTo>
                <a:cubicBezTo>
                  <a:pt x="1632" y="5918"/>
                  <a:pt x="1620" y="5911"/>
                  <a:pt x="1626" y="5892"/>
                </a:cubicBezTo>
                <a:cubicBezTo>
                  <a:pt x="1549" y="5899"/>
                  <a:pt x="1510" y="5911"/>
                  <a:pt x="1465" y="5956"/>
                </a:cubicBezTo>
                <a:cubicBezTo>
                  <a:pt x="1452" y="5950"/>
                  <a:pt x="1459" y="5924"/>
                  <a:pt x="1459" y="5911"/>
                </a:cubicBezTo>
                <a:cubicBezTo>
                  <a:pt x="1477" y="5905"/>
                  <a:pt x="1497" y="5899"/>
                  <a:pt x="1504" y="5880"/>
                </a:cubicBezTo>
                <a:cubicBezTo>
                  <a:pt x="1516" y="5886"/>
                  <a:pt x="1536" y="5886"/>
                  <a:pt x="1542" y="5899"/>
                </a:cubicBezTo>
                <a:cubicBezTo>
                  <a:pt x="1568" y="5880"/>
                  <a:pt x="1562" y="5854"/>
                  <a:pt x="1601" y="5841"/>
                </a:cubicBezTo>
                <a:cubicBezTo>
                  <a:pt x="1587" y="5835"/>
                  <a:pt x="1555" y="5854"/>
                  <a:pt x="1542" y="5835"/>
                </a:cubicBezTo>
                <a:cubicBezTo>
                  <a:pt x="1542" y="5822"/>
                  <a:pt x="1568" y="5822"/>
                  <a:pt x="1568" y="5803"/>
                </a:cubicBezTo>
                <a:cubicBezTo>
                  <a:pt x="1549" y="5803"/>
                  <a:pt x="1542" y="5809"/>
                  <a:pt x="1530" y="5816"/>
                </a:cubicBezTo>
                <a:cubicBezTo>
                  <a:pt x="1517" y="5816"/>
                  <a:pt x="1504" y="5816"/>
                  <a:pt x="1497" y="5803"/>
                </a:cubicBezTo>
                <a:cubicBezTo>
                  <a:pt x="1439" y="5841"/>
                  <a:pt x="1355" y="5861"/>
                  <a:pt x="1290" y="5892"/>
                </a:cubicBezTo>
                <a:cubicBezTo>
                  <a:pt x="1239" y="5924"/>
                  <a:pt x="1200" y="5988"/>
                  <a:pt x="1129" y="5981"/>
                </a:cubicBezTo>
                <a:cubicBezTo>
                  <a:pt x="1116" y="5994"/>
                  <a:pt x="1103" y="6013"/>
                  <a:pt x="1071" y="6007"/>
                </a:cubicBezTo>
                <a:cubicBezTo>
                  <a:pt x="1142" y="5930"/>
                  <a:pt x="1271" y="5917"/>
                  <a:pt x="1316" y="5821"/>
                </a:cubicBezTo>
                <a:cubicBezTo>
                  <a:pt x="1316" y="5809"/>
                  <a:pt x="1310" y="5802"/>
                  <a:pt x="1290" y="5802"/>
                </a:cubicBezTo>
                <a:cubicBezTo>
                  <a:pt x="1303" y="5796"/>
                  <a:pt x="1323" y="5796"/>
                  <a:pt x="1323" y="5777"/>
                </a:cubicBezTo>
                <a:cubicBezTo>
                  <a:pt x="1303" y="5777"/>
                  <a:pt x="1297" y="5783"/>
                  <a:pt x="1290" y="5796"/>
                </a:cubicBezTo>
                <a:cubicBezTo>
                  <a:pt x="1219" y="5802"/>
                  <a:pt x="1136" y="5841"/>
                  <a:pt x="1064" y="5866"/>
                </a:cubicBezTo>
                <a:cubicBezTo>
                  <a:pt x="1077" y="5821"/>
                  <a:pt x="1187" y="5827"/>
                  <a:pt x="1181" y="5751"/>
                </a:cubicBezTo>
                <a:cubicBezTo>
                  <a:pt x="1174" y="5738"/>
                  <a:pt x="1155" y="5757"/>
                  <a:pt x="1142" y="5757"/>
                </a:cubicBezTo>
                <a:cubicBezTo>
                  <a:pt x="1168" y="5726"/>
                  <a:pt x="1187" y="5693"/>
                  <a:pt x="1213" y="5662"/>
                </a:cubicBezTo>
                <a:cubicBezTo>
                  <a:pt x="1232" y="5675"/>
                  <a:pt x="1252" y="5655"/>
                  <a:pt x="1252" y="5630"/>
                </a:cubicBezTo>
                <a:cubicBezTo>
                  <a:pt x="1245" y="5617"/>
                  <a:pt x="1226" y="5643"/>
                  <a:pt x="1213" y="5624"/>
                </a:cubicBezTo>
                <a:cubicBezTo>
                  <a:pt x="1194" y="5630"/>
                  <a:pt x="1213" y="5649"/>
                  <a:pt x="1200" y="5655"/>
                </a:cubicBezTo>
                <a:cubicBezTo>
                  <a:pt x="1162" y="5668"/>
                  <a:pt x="1129" y="5687"/>
                  <a:pt x="1117" y="5726"/>
                </a:cubicBezTo>
                <a:cubicBezTo>
                  <a:pt x="1104" y="5732"/>
                  <a:pt x="1104" y="5726"/>
                  <a:pt x="1104" y="5713"/>
                </a:cubicBezTo>
                <a:cubicBezTo>
                  <a:pt x="1020" y="5771"/>
                  <a:pt x="904" y="5828"/>
                  <a:pt x="801" y="5880"/>
                </a:cubicBezTo>
                <a:cubicBezTo>
                  <a:pt x="801" y="5892"/>
                  <a:pt x="807" y="5899"/>
                  <a:pt x="813" y="5899"/>
                </a:cubicBezTo>
                <a:cubicBezTo>
                  <a:pt x="762" y="5911"/>
                  <a:pt x="742" y="5931"/>
                  <a:pt x="704" y="5956"/>
                </a:cubicBezTo>
                <a:cubicBezTo>
                  <a:pt x="697" y="5936"/>
                  <a:pt x="762" y="5905"/>
                  <a:pt x="775" y="5905"/>
                </a:cubicBezTo>
                <a:cubicBezTo>
                  <a:pt x="806" y="5854"/>
                  <a:pt x="916" y="5841"/>
                  <a:pt x="936" y="5764"/>
                </a:cubicBezTo>
                <a:cubicBezTo>
                  <a:pt x="955" y="5758"/>
                  <a:pt x="967" y="5758"/>
                  <a:pt x="987" y="5758"/>
                </a:cubicBezTo>
                <a:cubicBezTo>
                  <a:pt x="1012" y="5745"/>
                  <a:pt x="993" y="5726"/>
                  <a:pt x="1000" y="5707"/>
                </a:cubicBezTo>
                <a:cubicBezTo>
                  <a:pt x="1051" y="5694"/>
                  <a:pt x="1071" y="5649"/>
                  <a:pt x="1116" y="5630"/>
                </a:cubicBezTo>
                <a:cubicBezTo>
                  <a:pt x="1122" y="5643"/>
                  <a:pt x="1083" y="5656"/>
                  <a:pt x="1090" y="5681"/>
                </a:cubicBezTo>
                <a:cubicBezTo>
                  <a:pt x="1090" y="5688"/>
                  <a:pt x="1096" y="5688"/>
                  <a:pt x="1096" y="5694"/>
                </a:cubicBezTo>
                <a:cubicBezTo>
                  <a:pt x="1200" y="5636"/>
                  <a:pt x="1277" y="5553"/>
                  <a:pt x="1361" y="5483"/>
                </a:cubicBezTo>
                <a:cubicBezTo>
                  <a:pt x="1368" y="5464"/>
                  <a:pt x="1348" y="5471"/>
                  <a:pt x="1348" y="5452"/>
                </a:cubicBezTo>
                <a:cubicBezTo>
                  <a:pt x="1380" y="5452"/>
                  <a:pt x="1400" y="5407"/>
                  <a:pt x="1413" y="5381"/>
                </a:cubicBezTo>
                <a:cubicBezTo>
                  <a:pt x="1406" y="5375"/>
                  <a:pt x="1393" y="5375"/>
                  <a:pt x="1387" y="5369"/>
                </a:cubicBezTo>
                <a:cubicBezTo>
                  <a:pt x="1387" y="5356"/>
                  <a:pt x="1400" y="5356"/>
                  <a:pt x="1406" y="5343"/>
                </a:cubicBezTo>
                <a:cubicBezTo>
                  <a:pt x="1354" y="5337"/>
                  <a:pt x="1342" y="5331"/>
                  <a:pt x="1303" y="5350"/>
                </a:cubicBezTo>
                <a:cubicBezTo>
                  <a:pt x="1335" y="5331"/>
                  <a:pt x="1342" y="5286"/>
                  <a:pt x="1387" y="5286"/>
                </a:cubicBezTo>
                <a:cubicBezTo>
                  <a:pt x="1387" y="5286"/>
                  <a:pt x="1387" y="5286"/>
                  <a:pt x="1387" y="5254"/>
                </a:cubicBezTo>
                <a:cubicBezTo>
                  <a:pt x="1387" y="5248"/>
                  <a:pt x="1374" y="5248"/>
                  <a:pt x="1374" y="5242"/>
                </a:cubicBezTo>
                <a:cubicBezTo>
                  <a:pt x="1354" y="5254"/>
                  <a:pt x="1322" y="5254"/>
                  <a:pt x="1309" y="5273"/>
                </a:cubicBezTo>
                <a:cubicBezTo>
                  <a:pt x="1303" y="5267"/>
                  <a:pt x="1303" y="5254"/>
                  <a:pt x="1303" y="5248"/>
                </a:cubicBezTo>
                <a:cubicBezTo>
                  <a:pt x="1284" y="5248"/>
                  <a:pt x="1284" y="5254"/>
                  <a:pt x="1264" y="5248"/>
                </a:cubicBezTo>
                <a:cubicBezTo>
                  <a:pt x="1245" y="5254"/>
                  <a:pt x="1258" y="5287"/>
                  <a:pt x="1264" y="5299"/>
                </a:cubicBezTo>
                <a:cubicBezTo>
                  <a:pt x="1232" y="5319"/>
                  <a:pt x="1218" y="5351"/>
                  <a:pt x="1173" y="5351"/>
                </a:cubicBezTo>
                <a:cubicBezTo>
                  <a:pt x="1147" y="5376"/>
                  <a:pt x="1109" y="5407"/>
                  <a:pt x="1070" y="5382"/>
                </a:cubicBezTo>
                <a:cubicBezTo>
                  <a:pt x="1076" y="5337"/>
                  <a:pt x="1128" y="5344"/>
                  <a:pt x="1147" y="5306"/>
                </a:cubicBezTo>
                <a:cubicBezTo>
                  <a:pt x="1128" y="5306"/>
                  <a:pt x="1115" y="5318"/>
                  <a:pt x="1109" y="5325"/>
                </a:cubicBezTo>
                <a:cubicBezTo>
                  <a:pt x="1090" y="5317"/>
                  <a:pt x="1122" y="5298"/>
                  <a:pt x="1102" y="5286"/>
                </a:cubicBezTo>
                <a:cubicBezTo>
                  <a:pt x="1083" y="5286"/>
                  <a:pt x="1083" y="5298"/>
                  <a:pt x="1064" y="5292"/>
                </a:cubicBezTo>
                <a:cubicBezTo>
                  <a:pt x="1070" y="5285"/>
                  <a:pt x="1076" y="5266"/>
                  <a:pt x="1076" y="5253"/>
                </a:cubicBezTo>
                <a:cubicBezTo>
                  <a:pt x="1070" y="5247"/>
                  <a:pt x="1057" y="5241"/>
                  <a:pt x="1044" y="5241"/>
                </a:cubicBezTo>
                <a:cubicBezTo>
                  <a:pt x="1044" y="5227"/>
                  <a:pt x="1050" y="5221"/>
                  <a:pt x="1050" y="5202"/>
                </a:cubicBezTo>
                <a:cubicBezTo>
                  <a:pt x="1044" y="5189"/>
                  <a:pt x="1031" y="5208"/>
                  <a:pt x="1018" y="5202"/>
                </a:cubicBezTo>
                <a:cubicBezTo>
                  <a:pt x="1063" y="5151"/>
                  <a:pt x="1154" y="5138"/>
                  <a:pt x="1192" y="5068"/>
                </a:cubicBezTo>
                <a:cubicBezTo>
                  <a:pt x="1211" y="5068"/>
                  <a:pt x="1218" y="5049"/>
                  <a:pt x="1244" y="5055"/>
                </a:cubicBezTo>
                <a:cubicBezTo>
                  <a:pt x="1289" y="5023"/>
                  <a:pt x="1315" y="4972"/>
                  <a:pt x="1360" y="4946"/>
                </a:cubicBezTo>
                <a:cubicBezTo>
                  <a:pt x="1327" y="4920"/>
                  <a:pt x="1289" y="4940"/>
                  <a:pt x="1256" y="4959"/>
                </a:cubicBezTo>
                <a:cubicBezTo>
                  <a:pt x="1263" y="4946"/>
                  <a:pt x="1276" y="4940"/>
                  <a:pt x="1276" y="4927"/>
                </a:cubicBezTo>
                <a:cubicBezTo>
                  <a:pt x="1263" y="4915"/>
                  <a:pt x="1257" y="4908"/>
                  <a:pt x="1237" y="4902"/>
                </a:cubicBezTo>
                <a:cubicBezTo>
                  <a:pt x="1231" y="4934"/>
                  <a:pt x="1199" y="4934"/>
                  <a:pt x="1160" y="4934"/>
                </a:cubicBezTo>
                <a:cubicBezTo>
                  <a:pt x="1166" y="4915"/>
                  <a:pt x="1199" y="4915"/>
                  <a:pt x="1205" y="4902"/>
                </a:cubicBezTo>
                <a:cubicBezTo>
                  <a:pt x="1192" y="4889"/>
                  <a:pt x="1166" y="4896"/>
                  <a:pt x="1147" y="4883"/>
                </a:cubicBezTo>
                <a:cubicBezTo>
                  <a:pt x="1159" y="4877"/>
                  <a:pt x="1166" y="4870"/>
                  <a:pt x="1185" y="4870"/>
                </a:cubicBezTo>
                <a:cubicBezTo>
                  <a:pt x="1179" y="4864"/>
                  <a:pt x="1173" y="4852"/>
                  <a:pt x="1185" y="4852"/>
                </a:cubicBezTo>
                <a:cubicBezTo>
                  <a:pt x="1185" y="4839"/>
                  <a:pt x="1153" y="4858"/>
                  <a:pt x="1147" y="4845"/>
                </a:cubicBezTo>
                <a:cubicBezTo>
                  <a:pt x="1147" y="4762"/>
                  <a:pt x="1204" y="4698"/>
                  <a:pt x="1269" y="4653"/>
                </a:cubicBezTo>
                <a:cubicBezTo>
                  <a:pt x="1269" y="4608"/>
                  <a:pt x="1282" y="4589"/>
                  <a:pt x="1301" y="4551"/>
                </a:cubicBezTo>
                <a:cubicBezTo>
                  <a:pt x="1391" y="4538"/>
                  <a:pt x="1411" y="4454"/>
                  <a:pt x="1489" y="4435"/>
                </a:cubicBezTo>
                <a:cubicBezTo>
                  <a:pt x="1495" y="4410"/>
                  <a:pt x="1489" y="4390"/>
                  <a:pt x="1482" y="4371"/>
                </a:cubicBezTo>
                <a:cubicBezTo>
                  <a:pt x="1495" y="4365"/>
                  <a:pt x="1495" y="4353"/>
                  <a:pt x="1515" y="4359"/>
                </a:cubicBezTo>
                <a:cubicBezTo>
                  <a:pt x="1534" y="4263"/>
                  <a:pt x="1631" y="4244"/>
                  <a:pt x="1657" y="4161"/>
                </a:cubicBezTo>
                <a:cubicBezTo>
                  <a:pt x="1611" y="4116"/>
                  <a:pt x="1515" y="4154"/>
                  <a:pt x="1456" y="4116"/>
                </a:cubicBezTo>
                <a:cubicBezTo>
                  <a:pt x="1449" y="4116"/>
                  <a:pt x="1436" y="4116"/>
                  <a:pt x="1436" y="4122"/>
                </a:cubicBezTo>
                <a:cubicBezTo>
                  <a:pt x="1429" y="4116"/>
                  <a:pt x="1443" y="4103"/>
                  <a:pt x="1417" y="4097"/>
                </a:cubicBezTo>
                <a:cubicBezTo>
                  <a:pt x="1410" y="4142"/>
                  <a:pt x="1365" y="4142"/>
                  <a:pt x="1333" y="4161"/>
                </a:cubicBezTo>
                <a:cubicBezTo>
                  <a:pt x="1352" y="4141"/>
                  <a:pt x="1359" y="4103"/>
                  <a:pt x="1410" y="4109"/>
                </a:cubicBezTo>
                <a:cubicBezTo>
                  <a:pt x="1403" y="4071"/>
                  <a:pt x="1346" y="4059"/>
                  <a:pt x="1320" y="4078"/>
                </a:cubicBezTo>
                <a:cubicBezTo>
                  <a:pt x="1352" y="4034"/>
                  <a:pt x="1242" y="4052"/>
                  <a:pt x="1268" y="3982"/>
                </a:cubicBezTo>
                <a:cubicBezTo>
                  <a:pt x="1372" y="3944"/>
                  <a:pt x="1501" y="4020"/>
                  <a:pt x="1650" y="4007"/>
                </a:cubicBezTo>
                <a:cubicBezTo>
                  <a:pt x="1695" y="3974"/>
                  <a:pt x="1731" y="3936"/>
                  <a:pt x="1791" y="3918"/>
                </a:cubicBezTo>
                <a:lnTo>
                  <a:pt x="1796" y="3917"/>
                </a:lnTo>
                <a:lnTo>
                  <a:pt x="1799" y="3917"/>
                </a:lnTo>
                <a:cubicBezTo>
                  <a:pt x="1805" y="3916"/>
                  <a:pt x="1811" y="3914"/>
                  <a:pt x="1818" y="3912"/>
                </a:cubicBezTo>
                <a:cubicBezTo>
                  <a:pt x="1813" y="3913"/>
                  <a:pt x="1808" y="3914"/>
                  <a:pt x="1804" y="3915"/>
                </a:cubicBezTo>
                <a:lnTo>
                  <a:pt x="1796" y="3917"/>
                </a:lnTo>
                <a:lnTo>
                  <a:pt x="1789" y="3917"/>
                </a:lnTo>
                <a:cubicBezTo>
                  <a:pt x="1747" y="3916"/>
                  <a:pt x="1707" y="3887"/>
                  <a:pt x="1676" y="3887"/>
                </a:cubicBezTo>
                <a:cubicBezTo>
                  <a:pt x="1630" y="3887"/>
                  <a:pt x="1559" y="3912"/>
                  <a:pt x="1507" y="3899"/>
                </a:cubicBezTo>
                <a:cubicBezTo>
                  <a:pt x="1469" y="3892"/>
                  <a:pt x="1430" y="3867"/>
                  <a:pt x="1385" y="3861"/>
                </a:cubicBezTo>
                <a:cubicBezTo>
                  <a:pt x="1391" y="3841"/>
                  <a:pt x="1404" y="3835"/>
                  <a:pt x="1391" y="3809"/>
                </a:cubicBezTo>
                <a:cubicBezTo>
                  <a:pt x="1424" y="3816"/>
                  <a:pt x="1456" y="3764"/>
                  <a:pt x="1430" y="3739"/>
                </a:cubicBezTo>
                <a:cubicBezTo>
                  <a:pt x="1430" y="3681"/>
                  <a:pt x="1469" y="3662"/>
                  <a:pt x="1495" y="3624"/>
                </a:cubicBezTo>
                <a:cubicBezTo>
                  <a:pt x="1502" y="3611"/>
                  <a:pt x="1489" y="3617"/>
                  <a:pt x="1482" y="3617"/>
                </a:cubicBezTo>
                <a:cubicBezTo>
                  <a:pt x="1489" y="3585"/>
                  <a:pt x="1507" y="3585"/>
                  <a:pt x="1534" y="3572"/>
                </a:cubicBezTo>
                <a:cubicBezTo>
                  <a:pt x="1572" y="3547"/>
                  <a:pt x="1579" y="3471"/>
                  <a:pt x="1669" y="3489"/>
                </a:cubicBezTo>
                <a:cubicBezTo>
                  <a:pt x="1683" y="3482"/>
                  <a:pt x="1689" y="3463"/>
                  <a:pt x="1695" y="3451"/>
                </a:cubicBezTo>
                <a:cubicBezTo>
                  <a:pt x="1695" y="3438"/>
                  <a:pt x="1695" y="3413"/>
                  <a:pt x="1676" y="3419"/>
                </a:cubicBezTo>
                <a:cubicBezTo>
                  <a:pt x="1689" y="3400"/>
                  <a:pt x="1702" y="3387"/>
                  <a:pt x="1695" y="3362"/>
                </a:cubicBezTo>
                <a:cubicBezTo>
                  <a:pt x="1664" y="3330"/>
                  <a:pt x="1599" y="3355"/>
                  <a:pt x="1573" y="3355"/>
                </a:cubicBezTo>
                <a:cubicBezTo>
                  <a:pt x="1567" y="3349"/>
                  <a:pt x="1573" y="3343"/>
                  <a:pt x="1573" y="3336"/>
                </a:cubicBezTo>
                <a:cubicBezTo>
                  <a:pt x="1541" y="3343"/>
                  <a:pt x="1522" y="3356"/>
                  <a:pt x="1522" y="3375"/>
                </a:cubicBezTo>
                <a:cubicBezTo>
                  <a:pt x="1477" y="3381"/>
                  <a:pt x="1463" y="3407"/>
                  <a:pt x="1457" y="3452"/>
                </a:cubicBezTo>
                <a:cubicBezTo>
                  <a:pt x="1444" y="3439"/>
                  <a:pt x="1431" y="3452"/>
                  <a:pt x="1418" y="3439"/>
                </a:cubicBezTo>
                <a:cubicBezTo>
                  <a:pt x="1393" y="3452"/>
                  <a:pt x="1373" y="3471"/>
                  <a:pt x="1335" y="3471"/>
                </a:cubicBezTo>
                <a:cubicBezTo>
                  <a:pt x="1342" y="3464"/>
                  <a:pt x="1348" y="3452"/>
                  <a:pt x="1354" y="3445"/>
                </a:cubicBezTo>
                <a:cubicBezTo>
                  <a:pt x="1354" y="3433"/>
                  <a:pt x="1348" y="3433"/>
                  <a:pt x="1342" y="3433"/>
                </a:cubicBezTo>
                <a:cubicBezTo>
                  <a:pt x="1342" y="3420"/>
                  <a:pt x="1354" y="3420"/>
                  <a:pt x="1354" y="3407"/>
                </a:cubicBezTo>
                <a:cubicBezTo>
                  <a:pt x="1309" y="3426"/>
                  <a:pt x="1218" y="3446"/>
                  <a:pt x="1212" y="3529"/>
                </a:cubicBezTo>
                <a:cubicBezTo>
                  <a:pt x="1173" y="3535"/>
                  <a:pt x="1155" y="3523"/>
                  <a:pt x="1128" y="3548"/>
                </a:cubicBezTo>
                <a:cubicBezTo>
                  <a:pt x="1135" y="3573"/>
                  <a:pt x="1173" y="3554"/>
                  <a:pt x="1193" y="3554"/>
                </a:cubicBezTo>
                <a:cubicBezTo>
                  <a:pt x="1187" y="3599"/>
                  <a:pt x="1122" y="3599"/>
                  <a:pt x="1090" y="3593"/>
                </a:cubicBezTo>
                <a:cubicBezTo>
                  <a:pt x="1090" y="3561"/>
                  <a:pt x="1116" y="3561"/>
                  <a:pt x="1122" y="3535"/>
                </a:cubicBezTo>
                <a:cubicBezTo>
                  <a:pt x="1077" y="3542"/>
                  <a:pt x="1032" y="3529"/>
                  <a:pt x="1000" y="3542"/>
                </a:cubicBezTo>
                <a:cubicBezTo>
                  <a:pt x="1007" y="3510"/>
                  <a:pt x="1019" y="3433"/>
                  <a:pt x="987" y="3407"/>
                </a:cubicBezTo>
                <a:cubicBezTo>
                  <a:pt x="1052" y="3376"/>
                  <a:pt x="1103" y="3337"/>
                  <a:pt x="1194" y="3331"/>
                </a:cubicBezTo>
                <a:cubicBezTo>
                  <a:pt x="1188" y="3344"/>
                  <a:pt x="1181" y="3351"/>
                  <a:pt x="1188" y="3369"/>
                </a:cubicBezTo>
                <a:cubicBezTo>
                  <a:pt x="1162" y="3363"/>
                  <a:pt x="1130" y="3369"/>
                  <a:pt x="1143" y="3395"/>
                </a:cubicBezTo>
                <a:cubicBezTo>
                  <a:pt x="1143" y="3407"/>
                  <a:pt x="1169" y="3401"/>
                  <a:pt x="1175" y="3401"/>
                </a:cubicBezTo>
                <a:cubicBezTo>
                  <a:pt x="1169" y="3433"/>
                  <a:pt x="1188" y="3440"/>
                  <a:pt x="1201" y="3452"/>
                </a:cubicBezTo>
                <a:cubicBezTo>
                  <a:pt x="1298" y="3440"/>
                  <a:pt x="1312" y="3350"/>
                  <a:pt x="1292" y="3273"/>
                </a:cubicBezTo>
                <a:cubicBezTo>
                  <a:pt x="1286" y="3267"/>
                  <a:pt x="1278" y="3254"/>
                  <a:pt x="1266" y="3254"/>
                </a:cubicBezTo>
                <a:cubicBezTo>
                  <a:pt x="1260" y="3235"/>
                  <a:pt x="1272" y="3242"/>
                  <a:pt x="1272" y="3229"/>
                </a:cubicBezTo>
                <a:cubicBezTo>
                  <a:pt x="1241" y="3197"/>
                  <a:pt x="1195" y="3273"/>
                  <a:pt x="1150" y="3248"/>
                </a:cubicBezTo>
                <a:cubicBezTo>
                  <a:pt x="1169" y="3114"/>
                  <a:pt x="1027" y="3223"/>
                  <a:pt x="975" y="3242"/>
                </a:cubicBezTo>
                <a:cubicBezTo>
                  <a:pt x="1001" y="3210"/>
                  <a:pt x="1059" y="3203"/>
                  <a:pt x="1085" y="3171"/>
                </a:cubicBezTo>
                <a:cubicBezTo>
                  <a:pt x="1079" y="3133"/>
                  <a:pt x="1027" y="3152"/>
                  <a:pt x="988" y="3152"/>
                </a:cubicBezTo>
                <a:cubicBezTo>
                  <a:pt x="988" y="3126"/>
                  <a:pt x="1020" y="3139"/>
                  <a:pt x="1014" y="3114"/>
                </a:cubicBezTo>
                <a:cubicBezTo>
                  <a:pt x="994" y="3069"/>
                  <a:pt x="943" y="3107"/>
                  <a:pt x="917" y="3101"/>
                </a:cubicBezTo>
                <a:cubicBezTo>
                  <a:pt x="929" y="3095"/>
                  <a:pt x="929" y="3063"/>
                  <a:pt x="949" y="3076"/>
                </a:cubicBezTo>
                <a:cubicBezTo>
                  <a:pt x="1013" y="3037"/>
                  <a:pt x="994" y="2935"/>
                  <a:pt x="1033" y="2890"/>
                </a:cubicBezTo>
                <a:cubicBezTo>
                  <a:pt x="1065" y="2903"/>
                  <a:pt x="1098" y="2870"/>
                  <a:pt x="1104" y="2839"/>
                </a:cubicBezTo>
                <a:cubicBezTo>
                  <a:pt x="1136" y="2826"/>
                  <a:pt x="1155" y="2800"/>
                  <a:pt x="1175" y="2775"/>
                </a:cubicBezTo>
                <a:cubicBezTo>
                  <a:pt x="1175" y="2762"/>
                  <a:pt x="1155" y="2769"/>
                  <a:pt x="1143" y="2769"/>
                </a:cubicBezTo>
                <a:cubicBezTo>
                  <a:pt x="1175" y="2743"/>
                  <a:pt x="1201" y="2705"/>
                  <a:pt x="1201" y="2653"/>
                </a:cubicBezTo>
                <a:cubicBezTo>
                  <a:pt x="1046" y="2717"/>
                  <a:pt x="917" y="2819"/>
                  <a:pt x="768" y="2870"/>
                </a:cubicBezTo>
                <a:cubicBezTo>
                  <a:pt x="768" y="2794"/>
                  <a:pt x="678" y="2806"/>
                  <a:pt x="626" y="2781"/>
                </a:cubicBezTo>
                <a:cubicBezTo>
                  <a:pt x="626" y="2768"/>
                  <a:pt x="645" y="2768"/>
                  <a:pt x="639" y="2743"/>
                </a:cubicBezTo>
                <a:cubicBezTo>
                  <a:pt x="633" y="2736"/>
                  <a:pt x="633" y="2736"/>
                  <a:pt x="633" y="2730"/>
                </a:cubicBezTo>
                <a:cubicBezTo>
                  <a:pt x="600" y="2743"/>
                  <a:pt x="529" y="2775"/>
                  <a:pt x="497" y="2736"/>
                </a:cubicBezTo>
                <a:cubicBezTo>
                  <a:pt x="497" y="2716"/>
                  <a:pt x="503" y="2704"/>
                  <a:pt x="509" y="2698"/>
                </a:cubicBezTo>
                <a:cubicBezTo>
                  <a:pt x="483" y="2653"/>
                  <a:pt x="406" y="2691"/>
                  <a:pt x="367" y="2685"/>
                </a:cubicBezTo>
                <a:cubicBezTo>
                  <a:pt x="367" y="2666"/>
                  <a:pt x="393" y="2672"/>
                  <a:pt x="393" y="2653"/>
                </a:cubicBezTo>
                <a:cubicBezTo>
                  <a:pt x="374" y="2641"/>
                  <a:pt x="342" y="2666"/>
                  <a:pt x="316" y="2666"/>
                </a:cubicBezTo>
                <a:cubicBezTo>
                  <a:pt x="335" y="2621"/>
                  <a:pt x="412" y="2583"/>
                  <a:pt x="432" y="2525"/>
                </a:cubicBezTo>
                <a:cubicBezTo>
                  <a:pt x="419" y="2519"/>
                  <a:pt x="406" y="2525"/>
                  <a:pt x="412" y="2538"/>
                </a:cubicBezTo>
                <a:cubicBezTo>
                  <a:pt x="399" y="2513"/>
                  <a:pt x="419" y="2493"/>
                  <a:pt x="425" y="2474"/>
                </a:cubicBezTo>
                <a:cubicBezTo>
                  <a:pt x="471" y="2488"/>
                  <a:pt x="496" y="2468"/>
                  <a:pt x="516" y="2442"/>
                </a:cubicBezTo>
                <a:cubicBezTo>
                  <a:pt x="561" y="2455"/>
                  <a:pt x="587" y="2455"/>
                  <a:pt x="632" y="2436"/>
                </a:cubicBezTo>
                <a:cubicBezTo>
                  <a:pt x="618" y="2397"/>
                  <a:pt x="651" y="2366"/>
                  <a:pt x="677" y="2385"/>
                </a:cubicBezTo>
                <a:cubicBezTo>
                  <a:pt x="729" y="2327"/>
                  <a:pt x="825" y="2340"/>
                  <a:pt x="845" y="2244"/>
                </a:cubicBezTo>
                <a:cubicBezTo>
                  <a:pt x="896" y="2264"/>
                  <a:pt x="929" y="2180"/>
                  <a:pt x="987" y="2219"/>
                </a:cubicBezTo>
                <a:cubicBezTo>
                  <a:pt x="1006" y="2213"/>
                  <a:pt x="1019" y="2194"/>
                  <a:pt x="1038" y="2187"/>
                </a:cubicBezTo>
                <a:cubicBezTo>
                  <a:pt x="1038" y="2161"/>
                  <a:pt x="1032" y="2168"/>
                  <a:pt x="1038" y="2149"/>
                </a:cubicBezTo>
                <a:cubicBezTo>
                  <a:pt x="1116" y="2155"/>
                  <a:pt x="1187" y="2123"/>
                  <a:pt x="1252" y="2085"/>
                </a:cubicBezTo>
                <a:cubicBezTo>
                  <a:pt x="1252" y="2085"/>
                  <a:pt x="1252" y="2085"/>
                  <a:pt x="1252" y="2053"/>
                </a:cubicBezTo>
                <a:cubicBezTo>
                  <a:pt x="1264" y="2053"/>
                  <a:pt x="1284" y="2041"/>
                  <a:pt x="1284" y="2060"/>
                </a:cubicBezTo>
                <a:cubicBezTo>
                  <a:pt x="1523" y="1918"/>
                  <a:pt x="1801" y="1810"/>
                  <a:pt x="1995" y="1624"/>
                </a:cubicBezTo>
                <a:cubicBezTo>
                  <a:pt x="1995" y="1593"/>
                  <a:pt x="1943" y="1618"/>
                  <a:pt x="1924" y="1618"/>
                </a:cubicBezTo>
                <a:cubicBezTo>
                  <a:pt x="1924" y="1612"/>
                  <a:pt x="1930" y="1606"/>
                  <a:pt x="1930" y="1599"/>
                </a:cubicBezTo>
                <a:cubicBezTo>
                  <a:pt x="1898" y="1587"/>
                  <a:pt x="1872" y="1561"/>
                  <a:pt x="1827" y="1568"/>
                </a:cubicBezTo>
                <a:cubicBezTo>
                  <a:pt x="1827" y="1504"/>
                  <a:pt x="1762" y="1574"/>
                  <a:pt x="1729" y="1549"/>
                </a:cubicBezTo>
                <a:cubicBezTo>
                  <a:pt x="1742" y="1504"/>
                  <a:pt x="1691" y="1491"/>
                  <a:pt x="1671" y="1459"/>
                </a:cubicBezTo>
                <a:cubicBezTo>
                  <a:pt x="1626" y="1466"/>
                  <a:pt x="1600" y="1530"/>
                  <a:pt x="1549" y="1504"/>
                </a:cubicBezTo>
                <a:cubicBezTo>
                  <a:pt x="1536" y="1504"/>
                  <a:pt x="1542" y="1517"/>
                  <a:pt x="1542" y="1530"/>
                </a:cubicBezTo>
                <a:cubicBezTo>
                  <a:pt x="1485" y="1536"/>
                  <a:pt x="1471" y="1536"/>
                  <a:pt x="1420" y="1549"/>
                </a:cubicBezTo>
                <a:cubicBezTo>
                  <a:pt x="1420" y="1516"/>
                  <a:pt x="1452" y="1516"/>
                  <a:pt x="1465" y="1497"/>
                </a:cubicBezTo>
                <a:cubicBezTo>
                  <a:pt x="1401" y="1465"/>
                  <a:pt x="1310" y="1504"/>
                  <a:pt x="1233" y="1529"/>
                </a:cubicBezTo>
                <a:cubicBezTo>
                  <a:pt x="1258" y="1510"/>
                  <a:pt x="1278" y="1484"/>
                  <a:pt x="1316" y="1471"/>
                </a:cubicBezTo>
                <a:cubicBezTo>
                  <a:pt x="1304" y="1465"/>
                  <a:pt x="1284" y="1471"/>
                  <a:pt x="1271" y="1471"/>
                </a:cubicBezTo>
                <a:cubicBezTo>
                  <a:pt x="1290" y="1407"/>
                  <a:pt x="1459" y="1388"/>
                  <a:pt x="1426" y="1298"/>
                </a:cubicBezTo>
                <a:cubicBezTo>
                  <a:pt x="1517" y="1215"/>
                  <a:pt x="1633" y="1158"/>
                  <a:pt x="1749" y="1100"/>
                </a:cubicBezTo>
                <a:cubicBezTo>
                  <a:pt x="1755" y="1094"/>
                  <a:pt x="1755" y="1088"/>
                  <a:pt x="1762" y="1075"/>
                </a:cubicBezTo>
                <a:cubicBezTo>
                  <a:pt x="1768" y="1075"/>
                  <a:pt x="1768" y="1081"/>
                  <a:pt x="1768" y="1088"/>
                </a:cubicBezTo>
                <a:cubicBezTo>
                  <a:pt x="1968" y="998"/>
                  <a:pt x="2201" y="825"/>
                  <a:pt x="2459" y="755"/>
                </a:cubicBezTo>
                <a:cubicBezTo>
                  <a:pt x="2479" y="749"/>
                  <a:pt x="2504" y="749"/>
                  <a:pt x="2530" y="742"/>
                </a:cubicBezTo>
                <a:cubicBezTo>
                  <a:pt x="2569" y="730"/>
                  <a:pt x="2595" y="704"/>
                  <a:pt x="2627" y="691"/>
                </a:cubicBezTo>
                <a:cubicBezTo>
                  <a:pt x="2698" y="659"/>
                  <a:pt x="2756" y="652"/>
                  <a:pt x="2853" y="634"/>
                </a:cubicBezTo>
                <a:cubicBezTo>
                  <a:pt x="2885" y="627"/>
                  <a:pt x="2918" y="615"/>
                  <a:pt x="2950" y="646"/>
                </a:cubicBezTo>
                <a:cubicBezTo>
                  <a:pt x="2950" y="671"/>
                  <a:pt x="2938" y="685"/>
                  <a:pt x="2944" y="710"/>
                </a:cubicBezTo>
                <a:cubicBezTo>
                  <a:pt x="2950" y="729"/>
                  <a:pt x="2983" y="723"/>
                  <a:pt x="2983" y="742"/>
                </a:cubicBezTo>
                <a:cubicBezTo>
                  <a:pt x="2970" y="806"/>
                  <a:pt x="2860" y="787"/>
                  <a:pt x="2860" y="863"/>
                </a:cubicBezTo>
                <a:cubicBezTo>
                  <a:pt x="2848" y="863"/>
                  <a:pt x="2834" y="870"/>
                  <a:pt x="2828" y="870"/>
                </a:cubicBezTo>
                <a:cubicBezTo>
                  <a:pt x="2828" y="889"/>
                  <a:pt x="2840" y="882"/>
                  <a:pt x="2834" y="901"/>
                </a:cubicBezTo>
                <a:cubicBezTo>
                  <a:pt x="2783" y="934"/>
                  <a:pt x="2744" y="984"/>
                  <a:pt x="2686" y="1023"/>
                </a:cubicBezTo>
                <a:cubicBezTo>
                  <a:pt x="2803" y="997"/>
                  <a:pt x="2938" y="875"/>
                  <a:pt x="3106" y="914"/>
                </a:cubicBezTo>
                <a:cubicBezTo>
                  <a:pt x="3106" y="933"/>
                  <a:pt x="3086" y="946"/>
                  <a:pt x="3086" y="971"/>
                </a:cubicBezTo>
                <a:cubicBezTo>
                  <a:pt x="3105" y="971"/>
                  <a:pt x="3105" y="953"/>
                  <a:pt x="3131" y="953"/>
                </a:cubicBezTo>
                <a:cubicBezTo>
                  <a:pt x="3144" y="965"/>
                  <a:pt x="3144" y="1004"/>
                  <a:pt x="3131" y="1016"/>
                </a:cubicBezTo>
                <a:cubicBezTo>
                  <a:pt x="3144" y="1023"/>
                  <a:pt x="3163" y="1029"/>
                  <a:pt x="3176" y="1042"/>
                </a:cubicBezTo>
                <a:cubicBezTo>
                  <a:pt x="3350" y="978"/>
                  <a:pt x="3473" y="876"/>
                  <a:pt x="3660" y="831"/>
                </a:cubicBezTo>
                <a:cubicBezTo>
                  <a:pt x="3699" y="793"/>
                  <a:pt x="3822" y="773"/>
                  <a:pt x="3867" y="825"/>
                </a:cubicBezTo>
                <a:cubicBezTo>
                  <a:pt x="3906" y="805"/>
                  <a:pt x="3957" y="805"/>
                  <a:pt x="3983" y="773"/>
                </a:cubicBezTo>
                <a:cubicBezTo>
                  <a:pt x="3983" y="767"/>
                  <a:pt x="3963" y="754"/>
                  <a:pt x="3957" y="773"/>
                </a:cubicBezTo>
                <a:cubicBezTo>
                  <a:pt x="3938" y="767"/>
                  <a:pt x="3977" y="742"/>
                  <a:pt x="3951" y="742"/>
                </a:cubicBezTo>
                <a:cubicBezTo>
                  <a:pt x="4009" y="678"/>
                  <a:pt x="4099" y="645"/>
                  <a:pt x="4132" y="562"/>
                </a:cubicBezTo>
                <a:cubicBezTo>
                  <a:pt x="4144" y="569"/>
                  <a:pt x="4125" y="569"/>
                  <a:pt x="4138" y="581"/>
                </a:cubicBezTo>
                <a:cubicBezTo>
                  <a:pt x="4190" y="575"/>
                  <a:pt x="4190" y="524"/>
                  <a:pt x="4235" y="511"/>
                </a:cubicBezTo>
                <a:cubicBezTo>
                  <a:pt x="4274" y="536"/>
                  <a:pt x="4319" y="485"/>
                  <a:pt x="4351" y="466"/>
                </a:cubicBezTo>
                <a:cubicBezTo>
                  <a:pt x="4345" y="460"/>
                  <a:pt x="4345" y="447"/>
                  <a:pt x="4345" y="435"/>
                </a:cubicBezTo>
                <a:cubicBezTo>
                  <a:pt x="4371" y="428"/>
                  <a:pt x="4384" y="428"/>
                  <a:pt x="4410" y="416"/>
                </a:cubicBezTo>
                <a:cubicBezTo>
                  <a:pt x="4410" y="428"/>
                  <a:pt x="4390" y="428"/>
                  <a:pt x="4384" y="441"/>
                </a:cubicBezTo>
                <a:cubicBezTo>
                  <a:pt x="4468" y="409"/>
                  <a:pt x="4578" y="415"/>
                  <a:pt x="4661" y="402"/>
                </a:cubicBezTo>
                <a:close/>
                <a:moveTo>
                  <a:pt x="7842" y="230"/>
                </a:moveTo>
                <a:cubicBezTo>
                  <a:pt x="7829" y="243"/>
                  <a:pt x="7816" y="262"/>
                  <a:pt x="7778" y="255"/>
                </a:cubicBezTo>
                <a:cubicBezTo>
                  <a:pt x="7790" y="224"/>
                  <a:pt x="7823" y="243"/>
                  <a:pt x="7842" y="230"/>
                </a:cubicBezTo>
                <a:close/>
                <a:moveTo>
                  <a:pt x="8010" y="161"/>
                </a:moveTo>
                <a:cubicBezTo>
                  <a:pt x="7996" y="167"/>
                  <a:pt x="7996" y="186"/>
                  <a:pt x="7984" y="192"/>
                </a:cubicBezTo>
                <a:cubicBezTo>
                  <a:pt x="7991" y="198"/>
                  <a:pt x="7991" y="217"/>
                  <a:pt x="8003" y="211"/>
                </a:cubicBezTo>
                <a:cubicBezTo>
                  <a:pt x="8003" y="224"/>
                  <a:pt x="7984" y="217"/>
                  <a:pt x="7984" y="230"/>
                </a:cubicBezTo>
                <a:cubicBezTo>
                  <a:pt x="7991" y="236"/>
                  <a:pt x="8003" y="236"/>
                  <a:pt x="8003" y="230"/>
                </a:cubicBezTo>
                <a:cubicBezTo>
                  <a:pt x="8003" y="262"/>
                  <a:pt x="7932" y="274"/>
                  <a:pt x="7887" y="275"/>
                </a:cubicBezTo>
                <a:cubicBezTo>
                  <a:pt x="7900" y="237"/>
                  <a:pt x="7997" y="224"/>
                  <a:pt x="7971" y="192"/>
                </a:cubicBezTo>
                <a:cubicBezTo>
                  <a:pt x="7984" y="180"/>
                  <a:pt x="7990" y="161"/>
                  <a:pt x="8010" y="161"/>
                </a:cubicBezTo>
                <a:close/>
                <a:moveTo>
                  <a:pt x="7855" y="115"/>
                </a:moveTo>
                <a:cubicBezTo>
                  <a:pt x="7861" y="146"/>
                  <a:pt x="7829" y="146"/>
                  <a:pt x="7804" y="146"/>
                </a:cubicBezTo>
                <a:cubicBezTo>
                  <a:pt x="7810" y="127"/>
                  <a:pt x="7823" y="115"/>
                  <a:pt x="7855" y="115"/>
                </a:cubicBezTo>
                <a:close/>
                <a:moveTo>
                  <a:pt x="7868" y="82"/>
                </a:moveTo>
                <a:cubicBezTo>
                  <a:pt x="7841" y="115"/>
                  <a:pt x="7803" y="115"/>
                  <a:pt x="7758" y="121"/>
                </a:cubicBezTo>
                <a:cubicBezTo>
                  <a:pt x="7770" y="108"/>
                  <a:pt x="7829" y="89"/>
                  <a:pt x="7868" y="82"/>
                </a:cubicBezTo>
                <a:close/>
                <a:moveTo>
                  <a:pt x="7630" y="0"/>
                </a:moveTo>
                <a:cubicBezTo>
                  <a:pt x="7650" y="0"/>
                  <a:pt x="7670" y="3"/>
                  <a:pt x="7692" y="12"/>
                </a:cubicBezTo>
                <a:cubicBezTo>
                  <a:pt x="7699" y="44"/>
                  <a:pt x="7660" y="38"/>
                  <a:pt x="7654" y="63"/>
                </a:cubicBezTo>
                <a:cubicBezTo>
                  <a:pt x="7666" y="76"/>
                  <a:pt x="7673" y="95"/>
                  <a:pt x="7705" y="89"/>
                </a:cubicBezTo>
                <a:cubicBezTo>
                  <a:pt x="7692" y="108"/>
                  <a:pt x="7692" y="108"/>
                  <a:pt x="7692" y="127"/>
                </a:cubicBezTo>
                <a:cubicBezTo>
                  <a:pt x="7686" y="140"/>
                  <a:pt x="7718" y="140"/>
                  <a:pt x="7718" y="127"/>
                </a:cubicBezTo>
                <a:cubicBezTo>
                  <a:pt x="7725" y="146"/>
                  <a:pt x="7666" y="165"/>
                  <a:pt x="7692" y="210"/>
                </a:cubicBezTo>
                <a:cubicBezTo>
                  <a:pt x="7731" y="243"/>
                  <a:pt x="7777" y="191"/>
                  <a:pt x="7822" y="191"/>
                </a:cubicBezTo>
                <a:cubicBezTo>
                  <a:pt x="7796" y="230"/>
                  <a:pt x="7757" y="255"/>
                  <a:pt x="7731" y="294"/>
                </a:cubicBezTo>
                <a:cubicBezTo>
                  <a:pt x="7796" y="300"/>
                  <a:pt x="7821" y="269"/>
                  <a:pt x="7879" y="269"/>
                </a:cubicBezTo>
                <a:cubicBezTo>
                  <a:pt x="7854" y="294"/>
                  <a:pt x="7822" y="320"/>
                  <a:pt x="7796" y="345"/>
                </a:cubicBezTo>
                <a:cubicBezTo>
                  <a:pt x="7796" y="358"/>
                  <a:pt x="7808" y="358"/>
                  <a:pt x="7802" y="371"/>
                </a:cubicBezTo>
                <a:cubicBezTo>
                  <a:pt x="7822" y="377"/>
                  <a:pt x="7822" y="358"/>
                  <a:pt x="7834" y="371"/>
                </a:cubicBezTo>
                <a:cubicBezTo>
                  <a:pt x="7841" y="422"/>
                  <a:pt x="7802" y="428"/>
                  <a:pt x="7763" y="441"/>
                </a:cubicBezTo>
                <a:cubicBezTo>
                  <a:pt x="7744" y="461"/>
                  <a:pt x="7731" y="480"/>
                  <a:pt x="7705" y="480"/>
                </a:cubicBezTo>
                <a:cubicBezTo>
                  <a:pt x="7691" y="486"/>
                  <a:pt x="7698" y="505"/>
                  <a:pt x="7685" y="511"/>
                </a:cubicBezTo>
                <a:cubicBezTo>
                  <a:pt x="7665" y="517"/>
                  <a:pt x="7665" y="499"/>
                  <a:pt x="7659" y="499"/>
                </a:cubicBezTo>
                <a:cubicBezTo>
                  <a:pt x="7646" y="499"/>
                  <a:pt x="7633" y="505"/>
                  <a:pt x="7633" y="524"/>
                </a:cubicBezTo>
                <a:cubicBezTo>
                  <a:pt x="7724" y="536"/>
                  <a:pt x="7789" y="479"/>
                  <a:pt x="7872" y="454"/>
                </a:cubicBezTo>
                <a:cubicBezTo>
                  <a:pt x="7846" y="472"/>
                  <a:pt x="7820" y="492"/>
                  <a:pt x="7814" y="524"/>
                </a:cubicBezTo>
                <a:cubicBezTo>
                  <a:pt x="7820" y="555"/>
                  <a:pt x="7846" y="581"/>
                  <a:pt x="7840" y="607"/>
                </a:cubicBezTo>
                <a:cubicBezTo>
                  <a:pt x="7885" y="614"/>
                  <a:pt x="7911" y="588"/>
                  <a:pt x="7943" y="575"/>
                </a:cubicBezTo>
                <a:cubicBezTo>
                  <a:pt x="7917" y="645"/>
                  <a:pt x="7821" y="697"/>
                  <a:pt x="7801" y="773"/>
                </a:cubicBezTo>
                <a:cubicBezTo>
                  <a:pt x="7853" y="850"/>
                  <a:pt x="7931" y="754"/>
                  <a:pt x="7982" y="735"/>
                </a:cubicBezTo>
                <a:cubicBezTo>
                  <a:pt x="7963" y="773"/>
                  <a:pt x="7937" y="818"/>
                  <a:pt x="7898" y="837"/>
                </a:cubicBezTo>
                <a:cubicBezTo>
                  <a:pt x="7898" y="881"/>
                  <a:pt x="7859" y="933"/>
                  <a:pt x="7879" y="984"/>
                </a:cubicBezTo>
                <a:cubicBezTo>
                  <a:pt x="7866" y="997"/>
                  <a:pt x="7840" y="990"/>
                  <a:pt x="7827" y="1003"/>
                </a:cubicBezTo>
                <a:cubicBezTo>
                  <a:pt x="7841" y="1022"/>
                  <a:pt x="7853" y="1047"/>
                  <a:pt x="7886" y="1028"/>
                </a:cubicBezTo>
                <a:cubicBezTo>
                  <a:pt x="7886" y="1054"/>
                  <a:pt x="7866" y="1054"/>
                  <a:pt x="7853" y="1067"/>
                </a:cubicBezTo>
                <a:cubicBezTo>
                  <a:pt x="7841" y="1073"/>
                  <a:pt x="7860" y="1042"/>
                  <a:pt x="7841" y="1042"/>
                </a:cubicBezTo>
                <a:cubicBezTo>
                  <a:pt x="7828" y="1054"/>
                  <a:pt x="7834" y="1061"/>
                  <a:pt x="7834" y="1073"/>
                </a:cubicBezTo>
                <a:cubicBezTo>
                  <a:pt x="7802" y="1073"/>
                  <a:pt x="7783" y="1092"/>
                  <a:pt x="7757" y="1105"/>
                </a:cubicBezTo>
                <a:cubicBezTo>
                  <a:pt x="7763" y="1092"/>
                  <a:pt x="7757" y="1086"/>
                  <a:pt x="7757" y="1080"/>
                </a:cubicBezTo>
                <a:cubicBezTo>
                  <a:pt x="7725" y="1086"/>
                  <a:pt x="7692" y="1137"/>
                  <a:pt x="7718" y="1169"/>
                </a:cubicBezTo>
                <a:cubicBezTo>
                  <a:pt x="7680" y="1195"/>
                  <a:pt x="7609" y="1214"/>
                  <a:pt x="7537" y="1214"/>
                </a:cubicBezTo>
                <a:cubicBezTo>
                  <a:pt x="7570" y="1163"/>
                  <a:pt x="7680" y="1111"/>
                  <a:pt x="7615" y="1022"/>
                </a:cubicBezTo>
                <a:cubicBezTo>
                  <a:pt x="7627" y="1016"/>
                  <a:pt x="7647" y="1016"/>
                  <a:pt x="7654" y="997"/>
                </a:cubicBezTo>
                <a:cubicBezTo>
                  <a:pt x="7609" y="971"/>
                  <a:pt x="7647" y="939"/>
                  <a:pt x="7647" y="888"/>
                </a:cubicBezTo>
                <a:cubicBezTo>
                  <a:pt x="7647" y="875"/>
                  <a:pt x="7634" y="875"/>
                  <a:pt x="7621" y="869"/>
                </a:cubicBezTo>
                <a:cubicBezTo>
                  <a:pt x="7576" y="958"/>
                  <a:pt x="7383" y="958"/>
                  <a:pt x="7292" y="939"/>
                </a:cubicBezTo>
                <a:cubicBezTo>
                  <a:pt x="7292" y="913"/>
                  <a:pt x="7279" y="888"/>
                  <a:pt x="7253" y="888"/>
                </a:cubicBezTo>
                <a:cubicBezTo>
                  <a:pt x="7228" y="900"/>
                  <a:pt x="7222" y="926"/>
                  <a:pt x="7202" y="939"/>
                </a:cubicBezTo>
                <a:cubicBezTo>
                  <a:pt x="7202" y="958"/>
                  <a:pt x="7209" y="964"/>
                  <a:pt x="7222" y="964"/>
                </a:cubicBezTo>
                <a:cubicBezTo>
                  <a:pt x="7222" y="984"/>
                  <a:pt x="7202" y="984"/>
                  <a:pt x="7202" y="1009"/>
                </a:cubicBezTo>
                <a:cubicBezTo>
                  <a:pt x="7169" y="1003"/>
                  <a:pt x="7131" y="1022"/>
                  <a:pt x="7105" y="1035"/>
                </a:cubicBezTo>
                <a:cubicBezTo>
                  <a:pt x="7098" y="1015"/>
                  <a:pt x="7156" y="1009"/>
                  <a:pt x="7176" y="990"/>
                </a:cubicBezTo>
                <a:cubicBezTo>
                  <a:pt x="7163" y="983"/>
                  <a:pt x="7143" y="958"/>
                  <a:pt x="7176" y="958"/>
                </a:cubicBezTo>
                <a:cubicBezTo>
                  <a:pt x="7163" y="945"/>
                  <a:pt x="7157" y="964"/>
                  <a:pt x="7137" y="952"/>
                </a:cubicBezTo>
                <a:cubicBezTo>
                  <a:pt x="7106" y="856"/>
                  <a:pt x="7331" y="908"/>
                  <a:pt x="7267" y="792"/>
                </a:cubicBezTo>
                <a:cubicBezTo>
                  <a:pt x="7183" y="818"/>
                  <a:pt x="7125" y="825"/>
                  <a:pt x="7034" y="844"/>
                </a:cubicBezTo>
                <a:cubicBezTo>
                  <a:pt x="7034" y="825"/>
                  <a:pt x="7015" y="825"/>
                  <a:pt x="7008" y="818"/>
                </a:cubicBezTo>
                <a:cubicBezTo>
                  <a:pt x="7027" y="761"/>
                  <a:pt x="7131" y="786"/>
                  <a:pt x="7124" y="709"/>
                </a:cubicBezTo>
                <a:cubicBezTo>
                  <a:pt x="7124" y="703"/>
                  <a:pt x="7118" y="709"/>
                  <a:pt x="7118" y="697"/>
                </a:cubicBezTo>
                <a:cubicBezTo>
                  <a:pt x="7073" y="741"/>
                  <a:pt x="7015" y="748"/>
                  <a:pt x="6982" y="780"/>
                </a:cubicBezTo>
                <a:cubicBezTo>
                  <a:pt x="6956" y="773"/>
                  <a:pt x="6995" y="741"/>
                  <a:pt x="6989" y="709"/>
                </a:cubicBezTo>
                <a:cubicBezTo>
                  <a:pt x="6925" y="741"/>
                  <a:pt x="6892" y="767"/>
                  <a:pt x="6828" y="792"/>
                </a:cubicBezTo>
                <a:cubicBezTo>
                  <a:pt x="6815" y="792"/>
                  <a:pt x="6828" y="767"/>
                  <a:pt x="6813" y="767"/>
                </a:cubicBezTo>
                <a:cubicBezTo>
                  <a:pt x="6852" y="722"/>
                  <a:pt x="6877" y="664"/>
                  <a:pt x="6936" y="645"/>
                </a:cubicBezTo>
                <a:cubicBezTo>
                  <a:pt x="6962" y="613"/>
                  <a:pt x="6948" y="569"/>
                  <a:pt x="6936" y="530"/>
                </a:cubicBezTo>
                <a:cubicBezTo>
                  <a:pt x="6974" y="505"/>
                  <a:pt x="6993" y="460"/>
                  <a:pt x="7058" y="460"/>
                </a:cubicBezTo>
                <a:cubicBezTo>
                  <a:pt x="7064" y="486"/>
                  <a:pt x="7071" y="486"/>
                  <a:pt x="7058" y="505"/>
                </a:cubicBezTo>
                <a:cubicBezTo>
                  <a:pt x="7064" y="517"/>
                  <a:pt x="7078" y="499"/>
                  <a:pt x="7091" y="505"/>
                </a:cubicBezTo>
                <a:cubicBezTo>
                  <a:pt x="7098" y="562"/>
                  <a:pt x="7065" y="633"/>
                  <a:pt x="7007" y="645"/>
                </a:cubicBezTo>
                <a:cubicBezTo>
                  <a:pt x="7013" y="633"/>
                  <a:pt x="7007" y="633"/>
                  <a:pt x="7000" y="620"/>
                </a:cubicBezTo>
                <a:cubicBezTo>
                  <a:pt x="6988" y="626"/>
                  <a:pt x="6974" y="633"/>
                  <a:pt x="6968" y="652"/>
                </a:cubicBezTo>
                <a:cubicBezTo>
                  <a:pt x="6988" y="671"/>
                  <a:pt x="7039" y="645"/>
                  <a:pt x="7065" y="671"/>
                </a:cubicBezTo>
                <a:cubicBezTo>
                  <a:pt x="7149" y="633"/>
                  <a:pt x="7155" y="530"/>
                  <a:pt x="7110" y="454"/>
                </a:cubicBezTo>
                <a:cubicBezTo>
                  <a:pt x="7103" y="427"/>
                  <a:pt x="7129" y="427"/>
                  <a:pt x="7123" y="402"/>
                </a:cubicBezTo>
                <a:cubicBezTo>
                  <a:pt x="7109" y="390"/>
                  <a:pt x="7091" y="377"/>
                  <a:pt x="7064" y="371"/>
                </a:cubicBezTo>
                <a:cubicBezTo>
                  <a:pt x="7071" y="364"/>
                  <a:pt x="7078" y="352"/>
                  <a:pt x="7058" y="358"/>
                </a:cubicBezTo>
                <a:cubicBezTo>
                  <a:pt x="7162" y="281"/>
                  <a:pt x="7323" y="281"/>
                  <a:pt x="7401" y="185"/>
                </a:cubicBezTo>
                <a:cubicBezTo>
                  <a:pt x="7388" y="153"/>
                  <a:pt x="7356" y="191"/>
                  <a:pt x="7330" y="191"/>
                </a:cubicBezTo>
                <a:cubicBezTo>
                  <a:pt x="7343" y="166"/>
                  <a:pt x="7350" y="146"/>
                  <a:pt x="7350" y="121"/>
                </a:cubicBezTo>
                <a:cubicBezTo>
                  <a:pt x="7459" y="121"/>
                  <a:pt x="7526" y="2"/>
                  <a:pt x="7630" y="0"/>
                </a:cubicBezTo>
                <a:close/>
              </a:path>
            </a:pathLst>
          </a:custGeom>
        </p:spPr>
      </p:pic>
      <p:sp>
        <p:nvSpPr>
          <p:cNvPr id="12" name="标题 11"/>
          <p:cNvSpPr>
            <a:spLocks noGrp="1"/>
          </p:cNvSpPr>
          <p:nvPr>
            <p:ph type="title"/>
            <p:custDataLst>
              <p:tags r:id="rId5"/>
            </p:custDataLst>
          </p:nvPr>
        </p:nvSpPr>
        <p:spPr>
          <a:xfrm>
            <a:off x="539552" y="456565"/>
            <a:ext cx="3857625" cy="539750"/>
          </a:xfrm>
        </p:spPr>
        <p:txBody>
          <a:bodyPr vert="horz" wrap="square" lIns="0" tIns="0" rIns="0" bIns="0" rtlCol="0" anchor="b">
            <a:normAutofit/>
          </a:bodyPr>
          <a:lstStyle/>
          <a:p>
            <a:pPr fontAlgn="base">
              <a:spcAft>
                <a:spcPct val="0"/>
              </a:spcAft>
            </a:pPr>
            <a:r>
              <a:rPr lang="zh-CN" altLang="en-US" sz="3200" dirty="0">
                <a:sym typeface="+mn-ea"/>
              </a:rPr>
              <a:t>PQDT 资源</a:t>
            </a:r>
            <a:endParaRPr lang="zh-CN" altLang="en-US" sz="3200" dirty="0">
              <a:sym typeface="+mn-ea"/>
            </a:endParaRPr>
          </a:p>
        </p:txBody>
      </p:sp>
    </p:spTree>
    <p:custDataLst>
      <p:tags r:id="rId6"/>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2"/>
          <p:cNvSpPr txBox="1">
            <a:spLocks noChangeArrowheads="1"/>
          </p:cNvSpPr>
          <p:nvPr>
            <p:custDataLst>
              <p:tags r:id="rId1"/>
            </p:custDataLst>
          </p:nvPr>
        </p:nvSpPr>
        <p:spPr bwMode="auto">
          <a:xfrm>
            <a:off x="8864600" y="6591300"/>
            <a:ext cx="203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r"/>
            <a:fld id="{616491E5-D5F3-4171-9A3B-024C6DF3F71D}" type="slidenum">
              <a:rPr lang="en-US" altLang="zh-CN" sz="800">
                <a:solidFill>
                  <a:schemeClr val="lt1"/>
                </a:solidFill>
                <a:ea typeface="宋体" panose="02010600030101010101" pitchFamily="2" charset="-122"/>
                <a:sym typeface="Arial" panose="020B0604020202020204" pitchFamily="34" charset="0"/>
              </a:rPr>
            </a:fld>
            <a:endParaRPr lang="en-US" altLang="zh-CN" sz="800">
              <a:solidFill>
                <a:schemeClr val="lt1"/>
              </a:solidFill>
              <a:ea typeface="宋体" panose="02010600030101010101" pitchFamily="2" charset="-122"/>
              <a:sym typeface="Arial" panose="020B0604020202020204" pitchFamily="34" charset="0"/>
            </a:endParaRPr>
          </a:p>
        </p:txBody>
      </p:sp>
      <p:pic>
        <p:nvPicPr>
          <p:cNvPr id="18437" name="Picture 5"/>
          <p:cNvPicPr>
            <a:picLocks noChangeAspect="1" noChangeArrowheads="1"/>
          </p:cNvPicPr>
          <p:nvPr>
            <p:custDataLst>
              <p:tags r:id="rId2"/>
            </p:custDataLst>
          </p:nvPr>
        </p:nvPicPr>
        <p:blipFill>
          <a:blip r:embed="rId3">
            <a:extLst>
              <a:ext uri="{28A0092B-C50C-407E-A947-70E740481C1C}">
                <a14:useLocalDpi xmlns:a14="http://schemas.microsoft.com/office/drawing/2010/main" val="0"/>
              </a:ext>
            </a:extLst>
          </a:blip>
          <a:srcRect/>
          <a:stretch>
            <a:fillRect/>
          </a:stretch>
        </p:blipFill>
        <p:spPr bwMode="auto">
          <a:xfrm>
            <a:off x="5067300" y="2617788"/>
            <a:ext cx="3667125" cy="3259484"/>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pic>
      <p:grpSp>
        <p:nvGrpSpPr>
          <p:cNvPr id="2" name="Group 2"/>
          <p:cNvGrpSpPr/>
          <p:nvPr/>
        </p:nvGrpSpPr>
        <p:grpSpPr bwMode="auto">
          <a:xfrm>
            <a:off x="609600" y="1552575"/>
            <a:ext cx="3818384" cy="4175125"/>
            <a:chOff x="609600" y="1752600"/>
            <a:chExt cx="3962400" cy="3975100"/>
          </a:xfrm>
        </p:grpSpPr>
        <p:pic>
          <p:nvPicPr>
            <p:cNvPr id="15367" name="Picture 4"/>
            <p:cNvPicPr>
              <a:picLocks noChangeAspect="1" noChangeArrowheads="1"/>
            </p:cNvPicPr>
            <p:nvPr>
              <p:custDataLst>
                <p:tags r:id="rId4"/>
              </p:custDataLst>
            </p:nvPr>
          </p:nvPicPr>
          <p:blipFill>
            <a:blip r:embed="rId5">
              <a:extLst>
                <a:ext uri="{28A0092B-C50C-407E-A947-70E740481C1C}">
                  <a14:useLocalDpi xmlns:a14="http://schemas.microsoft.com/office/drawing/2010/main" val="0"/>
                </a:ext>
              </a:extLst>
            </a:blip>
            <a:srcRect/>
            <a:stretch>
              <a:fillRect/>
            </a:stretch>
          </p:blipFill>
          <p:spPr bwMode="auto">
            <a:xfrm>
              <a:off x="665163" y="1752600"/>
              <a:ext cx="3906837" cy="2928938"/>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pic>
        <p:sp>
          <p:nvSpPr>
            <p:cNvPr id="15368" name="Rectangle 6"/>
            <p:cNvSpPr/>
            <p:nvPr>
              <p:custDataLst>
                <p:tags r:id="rId6"/>
              </p:custDataLst>
            </p:nvPr>
          </p:nvSpPr>
          <p:spPr bwMode="auto">
            <a:xfrm>
              <a:off x="609600" y="4953000"/>
              <a:ext cx="39624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sz="3200" dirty="0">
                  <a:solidFill>
                    <a:schemeClr val="tx1"/>
                  </a:solidFill>
                  <a:latin typeface="+mn-lt"/>
                  <a:sym typeface="Arial" panose="020B0604020202020204" pitchFamily="34" charset="0"/>
                </a:rPr>
                <a:t>美国国会图书馆认定的官方存储</a:t>
              </a:r>
              <a:endParaRPr lang="zh-CN" altLang="en-US" sz="3200" dirty="0">
                <a:solidFill>
                  <a:schemeClr val="tx1"/>
                </a:solidFill>
                <a:latin typeface="+mn-lt"/>
                <a:sym typeface="Arial" panose="020B0604020202020204" pitchFamily="34" charset="0"/>
              </a:endParaRPr>
            </a:p>
          </p:txBody>
        </p:sp>
      </p:grpSp>
      <p:sp>
        <p:nvSpPr>
          <p:cNvPr id="9" name="Content Placeholder 2"/>
          <p:cNvSpPr>
            <a:spLocks noGrp="1"/>
          </p:cNvSpPr>
          <p:nvPr>
            <p:custDataLst>
              <p:tags r:id="rId7"/>
            </p:custDataLst>
          </p:nvPr>
        </p:nvSpPr>
        <p:spPr bwMode="auto">
          <a:xfrm>
            <a:off x="5067300" y="1552575"/>
            <a:ext cx="3667125"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r>
              <a:rPr lang="zh-CN" altLang="en-US" sz="3200" dirty="0">
                <a:latin typeface="+mn-lt"/>
              </a:rPr>
              <a:t>加拿大国家图书馆的合作出版商</a:t>
            </a:r>
            <a:endParaRPr lang="en-GB" altLang="zh-CN" sz="3200" dirty="0">
              <a:latin typeface="+mn-lt"/>
            </a:endParaRPr>
          </a:p>
          <a:p>
            <a:endParaRPr lang="en-GB" altLang="zh-CN" sz="3200" dirty="0">
              <a:latin typeface="+mn-lt"/>
            </a:endParaRPr>
          </a:p>
        </p:txBody>
      </p:sp>
      <p:sp>
        <p:nvSpPr>
          <p:cNvPr id="12" name="标题 11"/>
          <p:cNvSpPr>
            <a:spLocks noGrp="1"/>
          </p:cNvSpPr>
          <p:nvPr>
            <p:ph type="title"/>
            <p:custDataLst>
              <p:tags r:id="rId8"/>
            </p:custDataLst>
          </p:nvPr>
        </p:nvSpPr>
        <p:spPr>
          <a:xfrm>
            <a:off x="663144" y="450000"/>
            <a:ext cx="7958826" cy="540000"/>
          </a:xfrm>
        </p:spPr>
        <p:txBody>
          <a:bodyPr vert="horz" wrap="square" lIns="0" tIns="0" rIns="0" bIns="0" rtlCol="0" anchor="b">
            <a:normAutofit/>
          </a:bodyPr>
          <a:lstStyle/>
          <a:p>
            <a:pPr lvl="0" algn="l">
              <a:buClrTx/>
              <a:buSzTx/>
              <a:buFontTx/>
            </a:pPr>
            <a:r>
              <a:rPr lang="zh-CN" altLang="en-US" sz="3200" dirty="0">
                <a:sym typeface="+mn-ea"/>
              </a:rPr>
              <a:t>权威图书馆认可的资源</a:t>
            </a:r>
            <a:endParaRPr lang="zh-CN" altLang="en-US" sz="3200" dirty="0">
              <a:sym typeface="+mn-ea"/>
            </a:endParaRPr>
          </a:p>
        </p:txBody>
      </p:sp>
    </p:spTree>
    <p:custDataLst>
      <p:tags r:id="rId9"/>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18437"/>
                                        </p:tgtEl>
                                        <p:attrNameLst>
                                          <p:attrName>style.visibility</p:attrName>
                                        </p:attrNameLst>
                                      </p:cBhvr>
                                      <p:to>
                                        <p:strVal val="visible"/>
                                      </p:to>
                                    </p:set>
                                    <p:anim calcmode="lin" valueType="num">
                                      <p:cBhvr additive="base">
                                        <p:cTn id="10" dur="500" fill="hold"/>
                                        <p:tgtEl>
                                          <p:spTgt spid="18437"/>
                                        </p:tgtEl>
                                        <p:attrNameLst>
                                          <p:attrName>ppt_x</p:attrName>
                                        </p:attrNameLst>
                                      </p:cBhvr>
                                      <p:tavLst>
                                        <p:tav tm="0">
                                          <p:val>
                                            <p:strVal val="#ppt_x"/>
                                          </p:val>
                                        </p:tav>
                                        <p:tav tm="100000">
                                          <p:val>
                                            <p:strVal val="#ppt_x"/>
                                          </p:val>
                                        </p:tav>
                                      </p:tavLst>
                                    </p:anim>
                                    <p:anim calcmode="lin" valueType="num">
                                      <p:cBhvr additive="base">
                                        <p:cTn id="11" dur="500" fill="hold"/>
                                        <p:tgtEl>
                                          <p:spTgt spid="18437"/>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 calcmode="lin" valueType="num">
                                      <p:cBhvr additive="base">
                                        <p:cTn id="16"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2"/>
          <p:cNvSpPr txBox="1">
            <a:spLocks noChangeArrowheads="1"/>
          </p:cNvSpPr>
          <p:nvPr>
            <p:custDataLst>
              <p:tags r:id="rId1"/>
            </p:custDataLst>
          </p:nvPr>
        </p:nvSpPr>
        <p:spPr bwMode="auto">
          <a:xfrm>
            <a:off x="8864600" y="6591300"/>
            <a:ext cx="203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r"/>
            <a:fld id="{1EA05EDC-E2B1-43AB-8E87-6D94F8F1FA6B}" type="slidenum">
              <a:rPr lang="en-US" altLang="zh-CN" sz="800">
                <a:solidFill>
                  <a:schemeClr val="lt1"/>
                </a:solidFill>
                <a:ea typeface="宋体" panose="02010600030101010101" pitchFamily="2" charset="-122"/>
                <a:sym typeface="Arial" panose="020B0604020202020204" pitchFamily="34" charset="0"/>
              </a:rPr>
            </a:fld>
            <a:endParaRPr lang="en-US" altLang="zh-CN" sz="800">
              <a:solidFill>
                <a:schemeClr val="lt1"/>
              </a:solidFill>
              <a:ea typeface="宋体" panose="02010600030101010101" pitchFamily="2" charset="-122"/>
              <a:sym typeface="Arial" panose="020B0604020202020204" pitchFamily="34" charset="0"/>
            </a:endParaRPr>
          </a:p>
        </p:txBody>
      </p:sp>
      <p:pic>
        <p:nvPicPr>
          <p:cNvPr id="80898" name="Picture 2"/>
          <p:cNvPicPr>
            <a:picLocks noChangeAspect="1" noChangeArrowheads="1"/>
          </p:cNvPicPr>
          <p:nvPr>
            <p:custDataLst>
              <p:tags r:id="rId2"/>
            </p:custDataLst>
          </p:nvPr>
        </p:nvPicPr>
        <p:blipFill>
          <a:blip r:embed="rId3">
            <a:extLst>
              <a:ext uri="{28A0092B-C50C-407E-A947-70E740481C1C}">
                <a14:useLocalDpi xmlns:a14="http://schemas.microsoft.com/office/drawing/2010/main" val="0"/>
              </a:ext>
            </a:extLst>
          </a:blip>
          <a:srcRect/>
          <a:stretch>
            <a:fillRect/>
          </a:stretch>
        </p:blipFill>
        <p:spPr bwMode="auto">
          <a:xfrm>
            <a:off x="609668" y="1220732"/>
            <a:ext cx="32242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899" name="Picture 3"/>
          <p:cNvPicPr>
            <a:picLocks noChangeAspect="1" noChangeArrowheads="1"/>
          </p:cNvPicPr>
          <p:nvPr>
            <p:custDataLst>
              <p:tags r:id="rId4"/>
            </p:custDataLst>
          </p:nvPr>
        </p:nvPicPr>
        <p:blipFill>
          <a:blip r:embed="rId5">
            <a:extLst>
              <a:ext uri="{28A0092B-C50C-407E-A947-70E740481C1C}">
                <a14:useLocalDpi xmlns:a14="http://schemas.microsoft.com/office/drawing/2010/main" val="0"/>
              </a:ext>
            </a:extLst>
          </a:blip>
          <a:srcRect/>
          <a:stretch>
            <a:fillRect/>
          </a:stretch>
        </p:blipFill>
        <p:spPr bwMode="auto">
          <a:xfrm>
            <a:off x="609668" y="3786829"/>
            <a:ext cx="2948106" cy="912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0" name="Picture 4"/>
          <p:cNvPicPr>
            <a:picLocks noChangeAspect="1" noChangeArrowheads="1"/>
          </p:cNvPicPr>
          <p:nvPr>
            <p:custDataLst>
              <p:tags r:id="rId6"/>
            </p:custDataLst>
          </p:nvPr>
        </p:nvPicPr>
        <p:blipFill>
          <a:blip r:embed="rId7">
            <a:extLst>
              <a:ext uri="{28A0092B-C50C-407E-A947-70E740481C1C}">
                <a14:useLocalDpi xmlns:a14="http://schemas.microsoft.com/office/drawing/2010/main" val="0"/>
              </a:ext>
            </a:extLst>
          </a:blip>
          <a:srcRect/>
          <a:stretch>
            <a:fillRect/>
          </a:stretch>
        </p:blipFill>
        <p:spPr bwMode="auto">
          <a:xfrm>
            <a:off x="5111048" y="2187297"/>
            <a:ext cx="3505200" cy="11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1" name="Picture 5"/>
          <p:cNvPicPr>
            <a:picLocks noChangeAspect="1" noChangeArrowheads="1"/>
          </p:cNvPicPr>
          <p:nvPr>
            <p:custDataLst>
              <p:tags r:id="rId8"/>
            </p:custDataLst>
          </p:nvPr>
        </p:nvPicPr>
        <p:blipFill>
          <a:blip r:embed="rId9">
            <a:extLst>
              <a:ext uri="{28A0092B-C50C-407E-A947-70E740481C1C}">
                <a14:useLocalDpi xmlns:a14="http://schemas.microsoft.com/office/drawing/2010/main" val="0"/>
              </a:ext>
            </a:extLst>
          </a:blip>
          <a:srcRect/>
          <a:stretch>
            <a:fillRect/>
          </a:stretch>
        </p:blipFill>
        <p:spPr bwMode="auto">
          <a:xfrm>
            <a:off x="611560" y="5203829"/>
            <a:ext cx="3857625" cy="783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2" name="Picture 6"/>
          <p:cNvPicPr>
            <a:picLocks noChangeAspect="1" noChangeArrowheads="1"/>
          </p:cNvPicPr>
          <p:nvPr>
            <p:custDataLst>
              <p:tags r:id="rId10"/>
            </p:custDataLst>
          </p:nvPr>
        </p:nvPicPr>
        <p:blipFill rotWithShape="1">
          <a:blip r:embed="rId11">
            <a:extLst>
              <a:ext uri="{28A0092B-C50C-407E-A947-70E740481C1C}">
                <a14:useLocalDpi xmlns:a14="http://schemas.microsoft.com/office/drawing/2010/main" val="0"/>
              </a:ext>
            </a:extLst>
          </a:blip>
          <a:srcRect l="2680" r="5244"/>
          <a:stretch>
            <a:fillRect/>
          </a:stretch>
        </p:blipFill>
        <p:spPr bwMode="auto">
          <a:xfrm>
            <a:off x="5879944" y="3747783"/>
            <a:ext cx="2736304"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3" name="Picture 7"/>
          <p:cNvPicPr>
            <a:picLocks noChangeAspect="1" noChangeArrowheads="1"/>
          </p:cNvPicPr>
          <p:nvPr>
            <p:custDataLst>
              <p:tags r:id="rId12"/>
            </p:custDataLst>
          </p:nvPr>
        </p:nvPicPr>
        <p:blipFill>
          <a:blip r:embed="rId13">
            <a:extLst>
              <a:ext uri="{28A0092B-C50C-407E-A947-70E740481C1C}">
                <a14:useLocalDpi xmlns:a14="http://schemas.microsoft.com/office/drawing/2010/main" val="0"/>
              </a:ext>
            </a:extLst>
          </a:blip>
          <a:srcRect/>
          <a:stretch>
            <a:fillRect/>
          </a:stretch>
        </p:blipFill>
        <p:spPr bwMode="auto">
          <a:xfrm>
            <a:off x="611560" y="2571337"/>
            <a:ext cx="38576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4" name="Picture 8"/>
          <p:cNvPicPr>
            <a:picLocks noChangeAspect="1" noChangeArrowheads="1"/>
          </p:cNvPicPr>
          <p:nvPr>
            <p:custDataLst>
              <p:tags r:id="rId14"/>
            </p:custDataLst>
          </p:nvPr>
        </p:nvPicPr>
        <p:blipFill>
          <a:blip r:embed="rId15">
            <a:extLst>
              <a:ext uri="{28A0092B-C50C-407E-A947-70E740481C1C}">
                <a14:useLocalDpi xmlns:a14="http://schemas.microsoft.com/office/drawing/2010/main" val="0"/>
              </a:ext>
            </a:extLst>
          </a:blip>
          <a:srcRect/>
          <a:stretch>
            <a:fillRect/>
          </a:stretch>
        </p:blipFill>
        <p:spPr bwMode="auto">
          <a:xfrm>
            <a:off x="5092592" y="5203829"/>
            <a:ext cx="3523656" cy="889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5" name="Picture 9"/>
          <p:cNvPicPr>
            <a:picLocks noChangeAspect="1" noChangeArrowheads="1"/>
          </p:cNvPicPr>
          <p:nvPr>
            <p:custDataLst>
              <p:tags r:id="rId16"/>
            </p:custDataLst>
          </p:nvPr>
        </p:nvPicPr>
        <p:blipFill rotWithShape="1">
          <a:blip r:embed="rId17">
            <a:extLst>
              <a:ext uri="{28A0092B-C50C-407E-A947-70E740481C1C}">
                <a14:useLocalDpi xmlns:a14="http://schemas.microsoft.com/office/drawing/2010/main" val="0"/>
              </a:ext>
            </a:extLst>
          </a:blip>
          <a:srcRect t="815"/>
          <a:stretch>
            <a:fillRect/>
          </a:stretch>
        </p:blipFill>
        <p:spPr bwMode="auto">
          <a:xfrm>
            <a:off x="4339523" y="1330384"/>
            <a:ext cx="4276725" cy="61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7" name="Picture 11"/>
          <p:cNvPicPr>
            <a:picLocks noChangeAspect="1" noChangeArrowheads="1"/>
          </p:cNvPicPr>
          <p:nvPr>
            <p:custDataLst>
              <p:tags r:id="rId18"/>
            </p:custDataLst>
          </p:nvPr>
        </p:nvPicPr>
        <p:blipFill>
          <a:blip r:embed="rId19">
            <a:extLst>
              <a:ext uri="{28A0092B-C50C-407E-A947-70E740481C1C}">
                <a14:useLocalDpi xmlns:a14="http://schemas.microsoft.com/office/drawing/2010/main" val="0"/>
              </a:ext>
            </a:extLst>
          </a:blip>
          <a:srcRect/>
          <a:stretch>
            <a:fillRect/>
          </a:stretch>
        </p:blipFill>
        <p:spPr bwMode="auto">
          <a:xfrm>
            <a:off x="4048220" y="3578090"/>
            <a:ext cx="1381125"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标题 2"/>
          <p:cNvSpPr>
            <a:spLocks noGrp="1"/>
          </p:cNvSpPr>
          <p:nvPr>
            <p:ph type="title"/>
            <p:custDataLst>
              <p:tags r:id="rId20"/>
            </p:custDataLst>
          </p:nvPr>
        </p:nvSpPr>
        <p:spPr>
          <a:xfrm>
            <a:off x="609668" y="396927"/>
            <a:ext cx="8100000" cy="540000"/>
          </a:xfrm>
        </p:spPr>
        <p:txBody>
          <a:bodyPr vert="horz" wrap="square" lIns="0" tIns="0" rIns="0" bIns="0" rtlCol="0" anchor="b">
            <a:normAutofit/>
          </a:bodyPr>
          <a:lstStyle/>
          <a:p>
            <a:r>
              <a:rPr lang="zh-CN" altLang="en-US" sz="3200" dirty="0">
                <a:sym typeface="+mn-ea"/>
              </a:rPr>
              <a:t>来自全球权威和顶级的高校</a:t>
            </a:r>
            <a:endParaRPr lang="zh-CN" altLang="en-US" sz="3200" dirty="0">
              <a:sym typeface="+mn-ea"/>
            </a:endParaRPr>
          </a:p>
        </p:txBody>
      </p:sp>
    </p:spTree>
    <p:custDataLst>
      <p:tags r:id="rId2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ntr" presetSubtype="0" fill="hold" nodeType="clickEffect">
                                  <p:stCondLst>
                                    <p:cond delay="0"/>
                                  </p:stCondLst>
                                  <p:childTnLst>
                                    <p:set>
                                      <p:cBhvr>
                                        <p:cTn id="6" dur="1" fill="hold">
                                          <p:stCondLst>
                                            <p:cond delay="0"/>
                                          </p:stCondLst>
                                        </p:cTn>
                                        <p:tgtEl>
                                          <p:spTgt spid="80898"/>
                                        </p:tgtEl>
                                        <p:attrNameLst>
                                          <p:attrName>style.visibility</p:attrName>
                                        </p:attrNameLst>
                                      </p:cBhvr>
                                      <p:to>
                                        <p:strVal val="visible"/>
                                      </p:to>
                                    </p:set>
                                    <p:anim to="" calcmode="lin" valueType="num">
                                      <p:cBhvr>
                                        <p:cTn id="7" dur="1" fill="hold"/>
                                        <p:tgtEl>
                                          <p:spTgt spid="80898"/>
                                        </p:tgtEl>
                                      </p:cBhvr>
                                    </p:anim>
                                  </p:childTnLst>
                                </p:cTn>
                              </p:par>
                              <p:par>
                                <p:cTn id="8" presetID="24" presetClass="entr" presetSubtype="0" fill="hold" nodeType="withEffect">
                                  <p:stCondLst>
                                    <p:cond delay="0"/>
                                  </p:stCondLst>
                                  <p:childTnLst>
                                    <p:set>
                                      <p:cBhvr>
                                        <p:cTn id="9" dur="1" fill="hold">
                                          <p:stCondLst>
                                            <p:cond delay="0"/>
                                          </p:stCondLst>
                                        </p:cTn>
                                        <p:tgtEl>
                                          <p:spTgt spid="80900"/>
                                        </p:tgtEl>
                                        <p:attrNameLst>
                                          <p:attrName>style.visibility</p:attrName>
                                        </p:attrNameLst>
                                      </p:cBhvr>
                                      <p:to>
                                        <p:strVal val="visible"/>
                                      </p:to>
                                    </p:set>
                                    <p:anim to="" calcmode="lin" valueType="num">
                                      <p:cBhvr>
                                        <p:cTn id="10" dur="1" fill="hold"/>
                                        <p:tgtEl>
                                          <p:spTgt spid="80900"/>
                                        </p:tgtEl>
                                      </p:cBhvr>
                                    </p:anim>
                                  </p:childTnLst>
                                </p:cTn>
                              </p:par>
                              <p:par>
                                <p:cTn id="11" presetID="24" presetClass="entr" presetSubtype="0" fill="hold" nodeType="withEffect">
                                  <p:stCondLst>
                                    <p:cond delay="0"/>
                                  </p:stCondLst>
                                  <p:childTnLst>
                                    <p:set>
                                      <p:cBhvr>
                                        <p:cTn id="12" dur="1" fill="hold">
                                          <p:stCondLst>
                                            <p:cond delay="0"/>
                                          </p:stCondLst>
                                        </p:cTn>
                                        <p:tgtEl>
                                          <p:spTgt spid="80903"/>
                                        </p:tgtEl>
                                        <p:attrNameLst>
                                          <p:attrName>style.visibility</p:attrName>
                                        </p:attrNameLst>
                                      </p:cBhvr>
                                      <p:to>
                                        <p:strVal val="visible"/>
                                      </p:to>
                                    </p:set>
                                    <p:anim to="" calcmode="lin" valueType="num">
                                      <p:cBhvr>
                                        <p:cTn id="13" dur="1" fill="hold"/>
                                        <p:tgtEl>
                                          <p:spTgt spid="80903"/>
                                        </p:tgtEl>
                                      </p:cBhvr>
                                    </p:anim>
                                  </p:childTnLst>
                                </p:cTn>
                              </p:par>
                              <p:par>
                                <p:cTn id="14" presetID="24" presetClass="entr" presetSubtype="0" fill="hold" nodeType="withEffect">
                                  <p:stCondLst>
                                    <p:cond delay="0"/>
                                  </p:stCondLst>
                                  <p:childTnLst>
                                    <p:set>
                                      <p:cBhvr>
                                        <p:cTn id="15" dur="1" fill="hold">
                                          <p:stCondLst>
                                            <p:cond delay="0"/>
                                          </p:stCondLst>
                                        </p:cTn>
                                        <p:tgtEl>
                                          <p:spTgt spid="80905"/>
                                        </p:tgtEl>
                                        <p:attrNameLst>
                                          <p:attrName>style.visibility</p:attrName>
                                        </p:attrNameLst>
                                      </p:cBhvr>
                                      <p:to>
                                        <p:strVal val="visible"/>
                                      </p:to>
                                    </p:set>
                                    <p:anim to="" calcmode="lin" valueType="num">
                                      <p:cBhvr>
                                        <p:cTn id="16" dur="1" fill="hold"/>
                                        <p:tgtEl>
                                          <p:spTgt spid="80905"/>
                                        </p:tgtEl>
                                      </p:cBhvr>
                                    </p:anim>
                                  </p:childTnLst>
                                </p:cTn>
                              </p:par>
                              <p:par>
                                <p:cTn id="17" presetID="24" presetClass="entr" presetSubtype="0" fill="hold" nodeType="withEffect">
                                  <p:stCondLst>
                                    <p:cond delay="0"/>
                                  </p:stCondLst>
                                  <p:childTnLst>
                                    <p:set>
                                      <p:cBhvr>
                                        <p:cTn id="18" dur="1" fill="hold">
                                          <p:stCondLst>
                                            <p:cond delay="0"/>
                                          </p:stCondLst>
                                        </p:cTn>
                                        <p:tgtEl>
                                          <p:spTgt spid="80907"/>
                                        </p:tgtEl>
                                        <p:attrNameLst>
                                          <p:attrName>style.visibility</p:attrName>
                                        </p:attrNameLst>
                                      </p:cBhvr>
                                      <p:to>
                                        <p:strVal val="visible"/>
                                      </p:to>
                                    </p:set>
                                    <p:anim to="" calcmode="lin" valueType="num">
                                      <p:cBhvr>
                                        <p:cTn id="19" dur="1" fill="hold"/>
                                        <p:tgtEl>
                                          <p:spTgt spid="80907"/>
                                        </p:tgtEl>
                                      </p:cBhvr>
                                    </p:anim>
                                  </p:childTnLst>
                                </p:cTn>
                              </p:par>
                              <p:par>
                                <p:cTn id="20" presetID="24" presetClass="entr" presetSubtype="0" fill="hold" nodeType="withEffect">
                                  <p:stCondLst>
                                    <p:cond delay="0"/>
                                  </p:stCondLst>
                                  <p:childTnLst>
                                    <p:set>
                                      <p:cBhvr>
                                        <p:cTn id="21" dur="1" fill="hold">
                                          <p:stCondLst>
                                            <p:cond delay="0"/>
                                          </p:stCondLst>
                                        </p:cTn>
                                        <p:tgtEl>
                                          <p:spTgt spid="80901"/>
                                        </p:tgtEl>
                                        <p:attrNameLst>
                                          <p:attrName>style.visibility</p:attrName>
                                        </p:attrNameLst>
                                      </p:cBhvr>
                                      <p:to>
                                        <p:strVal val="visible"/>
                                      </p:to>
                                    </p:set>
                                    <p:anim to="" calcmode="lin" valueType="num">
                                      <p:cBhvr>
                                        <p:cTn id="22" dur="1" fill="hold"/>
                                        <p:tgtEl>
                                          <p:spTgt spid="80901"/>
                                        </p:tgtEl>
                                      </p:cBhvr>
                                    </p:anim>
                                  </p:childTnLst>
                                </p:cTn>
                              </p:par>
                              <p:par>
                                <p:cTn id="23" presetID="24" presetClass="entr" presetSubtype="0" fill="hold" nodeType="withEffect">
                                  <p:stCondLst>
                                    <p:cond delay="0"/>
                                  </p:stCondLst>
                                  <p:childTnLst>
                                    <p:set>
                                      <p:cBhvr>
                                        <p:cTn id="24" dur="1" fill="hold">
                                          <p:stCondLst>
                                            <p:cond delay="0"/>
                                          </p:stCondLst>
                                        </p:cTn>
                                        <p:tgtEl>
                                          <p:spTgt spid="80902"/>
                                        </p:tgtEl>
                                        <p:attrNameLst>
                                          <p:attrName>style.visibility</p:attrName>
                                        </p:attrNameLst>
                                      </p:cBhvr>
                                      <p:to>
                                        <p:strVal val="visible"/>
                                      </p:to>
                                    </p:set>
                                    <p:anim to="" calcmode="lin" valueType="num">
                                      <p:cBhvr>
                                        <p:cTn id="25" dur="1" fill="hold"/>
                                        <p:tgtEl>
                                          <p:spTgt spid="80902"/>
                                        </p:tgtEl>
                                      </p:cBhvr>
                                    </p:anim>
                                  </p:childTnLst>
                                </p:cTn>
                              </p:par>
                              <p:par>
                                <p:cTn id="26" presetID="24" presetClass="entr" presetSubtype="0" fill="hold" nodeType="withEffect">
                                  <p:stCondLst>
                                    <p:cond delay="0"/>
                                  </p:stCondLst>
                                  <p:childTnLst>
                                    <p:set>
                                      <p:cBhvr>
                                        <p:cTn id="27" dur="1" fill="hold">
                                          <p:stCondLst>
                                            <p:cond delay="0"/>
                                          </p:stCondLst>
                                        </p:cTn>
                                        <p:tgtEl>
                                          <p:spTgt spid="80899"/>
                                        </p:tgtEl>
                                        <p:attrNameLst>
                                          <p:attrName>style.visibility</p:attrName>
                                        </p:attrNameLst>
                                      </p:cBhvr>
                                      <p:to>
                                        <p:strVal val="visible"/>
                                      </p:to>
                                    </p:set>
                                    <p:anim to="" calcmode="lin" valueType="num">
                                      <p:cBhvr>
                                        <p:cTn id="28" dur="1" fill="hold"/>
                                        <p:tgtEl>
                                          <p:spTgt spid="80899"/>
                                        </p:tgtEl>
                                      </p:cBhvr>
                                    </p:anim>
                                  </p:childTnLst>
                                </p:cTn>
                              </p:par>
                              <p:par>
                                <p:cTn id="29" presetID="24" presetClass="entr" presetSubtype="0" fill="hold" nodeType="withEffect">
                                  <p:stCondLst>
                                    <p:cond delay="0"/>
                                  </p:stCondLst>
                                  <p:childTnLst>
                                    <p:set>
                                      <p:cBhvr>
                                        <p:cTn id="30" dur="1" fill="hold">
                                          <p:stCondLst>
                                            <p:cond delay="0"/>
                                          </p:stCondLst>
                                        </p:cTn>
                                        <p:tgtEl>
                                          <p:spTgt spid="80904"/>
                                        </p:tgtEl>
                                        <p:attrNameLst>
                                          <p:attrName>style.visibility</p:attrName>
                                        </p:attrNameLst>
                                      </p:cBhvr>
                                      <p:to>
                                        <p:strVal val="visible"/>
                                      </p:to>
                                    </p:set>
                                    <p:anim to="" calcmode="lin" valueType="num">
                                      <p:cBhvr>
                                        <p:cTn id="31" dur="1" fill="hold"/>
                                        <p:tgtEl>
                                          <p:spTgt spid="80904"/>
                                        </p:tgtEl>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custDataLst>
              <p:tags r:id="rId1"/>
            </p:custDataLst>
          </p:nvPr>
        </p:nvGraphicFramePr>
        <p:xfrm>
          <a:off x="1142606" y="1484784"/>
          <a:ext cx="67056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标题 3"/>
          <p:cNvSpPr>
            <a:spLocks noGrp="1"/>
          </p:cNvSpPr>
          <p:nvPr>
            <p:ph type="title"/>
            <p:custDataLst>
              <p:tags r:id="rId7"/>
            </p:custDataLst>
          </p:nvPr>
        </p:nvSpPr>
        <p:spPr/>
        <p:txBody>
          <a:bodyPr vert="horz" wrap="square" lIns="0" tIns="0" rIns="0" bIns="0" rtlCol="0" anchor="b">
            <a:normAutofit/>
          </a:bodyPr>
          <a:lstStyle/>
          <a:p>
            <a:r>
              <a:rPr lang="zh-CN" altLang="en-US" sz="3200" dirty="0">
                <a:sym typeface="+mn-ea"/>
              </a:rPr>
              <a:t>PQDT 内容构成特点</a:t>
            </a:r>
            <a:endParaRPr lang="zh-CN" altLang="en-US" sz="3200" dirty="0">
              <a:sym typeface="+mn-ea"/>
            </a:endParaRPr>
          </a:p>
        </p:txBody>
      </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400"/>
                                        <p:tgtEl>
                                          <p:spTgt spid="6"/>
                                        </p:tgtEl>
                                      </p:cBhvr>
                                    </p:animEffect>
                                    <p:anim calcmode="lin" valueType="num">
                                      <p:cBhvr>
                                        <p:cTn id="8" dur="1400" fill="hold"/>
                                        <p:tgtEl>
                                          <p:spTgt spid="6"/>
                                        </p:tgtEl>
                                        <p:attrNameLst>
                                          <p:attrName>ppt_x</p:attrName>
                                        </p:attrNameLst>
                                      </p:cBhvr>
                                      <p:tavLst>
                                        <p:tav tm="0">
                                          <p:val>
                                            <p:strVal val="#ppt_x"/>
                                          </p:val>
                                        </p:tav>
                                        <p:tav tm="100000">
                                          <p:val>
                                            <p:strVal val="#ppt_x"/>
                                          </p:val>
                                        </p:tav>
                                      </p:tavLst>
                                    </p:anim>
                                    <p:anim calcmode="lin" valueType="num">
                                      <p:cBhvr>
                                        <p:cTn id="9" dur="14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2"/>
          <p:cNvSpPr txBox="1">
            <a:spLocks noChangeArrowheads="1"/>
          </p:cNvSpPr>
          <p:nvPr/>
        </p:nvSpPr>
        <p:spPr bwMode="auto">
          <a:xfrm>
            <a:off x="8864600" y="6591300"/>
            <a:ext cx="203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r"/>
            <a:fld id="{EE0112DA-A565-4AC1-888D-968A8A90DE37}" type="slidenum">
              <a:rPr lang="en-US" altLang="zh-CN" sz="800">
                <a:solidFill>
                  <a:srgbClr val="FFFFFF"/>
                </a:solidFill>
                <a:ea typeface="宋体" panose="02010600030101010101" pitchFamily="2" charset="-122"/>
                <a:sym typeface="Arial" panose="020B0604020202020204" pitchFamily="34" charset="0"/>
              </a:rPr>
            </a:fld>
            <a:endParaRPr lang="en-US" altLang="zh-CN" sz="800">
              <a:solidFill>
                <a:srgbClr val="FFFFFF"/>
              </a:solidFill>
              <a:ea typeface="宋体" panose="02010600030101010101" pitchFamily="2" charset="-122"/>
              <a:sym typeface="Arial" panose="020B0604020202020204" pitchFamily="34" charset="0"/>
            </a:endParaRPr>
          </a:p>
        </p:txBody>
      </p:sp>
      <p:pic>
        <p:nvPicPr>
          <p:cNvPr id="22531" name="Picture 4"/>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0" y="457200"/>
            <a:ext cx="409575"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5"/>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0" y="638175"/>
            <a:ext cx="409575"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3" name="Picture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0" y="638175"/>
            <a:ext cx="4095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7"/>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0" y="638175"/>
            <a:ext cx="40957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8" name="Rectangle 8"/>
          <p:cNvSpPr/>
          <p:nvPr/>
        </p:nvSpPr>
        <p:spPr bwMode="auto">
          <a:xfrm>
            <a:off x="990600" y="1219200"/>
            <a:ext cx="7543800" cy="6083300"/>
          </a:xfrm>
          <a:prstGeom prst="rect">
            <a:avLst/>
          </a:prstGeom>
          <a:noFill/>
          <a:ln w="9525">
            <a:noFill/>
            <a:miter lim="800000"/>
            <a:headEnd type="none" w="med" len="med"/>
            <a:tailEnd type="none" w="med" len="med"/>
          </a:ln>
        </p:spPr>
        <p:txBody>
          <a:bodyPr lIns="38100" tIns="38100" rIns="38100" bIns="38100"/>
          <a:lstStyle/>
          <a:p>
            <a:pPr>
              <a:lnSpc>
                <a:spcPct val="150000"/>
              </a:lnSpc>
              <a:defRPr/>
            </a:pP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Communication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Ar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Medicin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ducation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Linguistic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Literatur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Philosoph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R</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ligion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The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ngineering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Sociology</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Media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Administration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Computing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Physic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Busines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Wingdings" panose="05000000000000000000" pitchFamily="2" charset="2"/>
              </a:rPr>
              <a:t>Sports Scienc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Film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Mediation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Anthrop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 Law 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PR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Wingdings" panose="05000000000000000000" pitchFamily="2" charset="2"/>
              </a:rPr>
              <a:t>Nanotechn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Ge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Lucida Grande" charset="0"/>
              </a:rPr>
              <a:t>History</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conomic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Wingdings" panose="05000000000000000000" pitchFamily="2" charset="2"/>
                <a:cs typeface="Wingdings" panose="05000000000000000000" pitchFamily="2" charset="2"/>
                <a:sym typeface="Lucida Grande" charset="0"/>
              </a:rPr>
              <a:t>Political Scienc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I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Agricultur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Bi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Biophysics</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arth Science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Women’s Studies</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Health Science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Chemistry</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Pure Sciences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Lucida Grande" charset="0"/>
              </a:rPr>
              <a:t>Architecture</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Engineering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Lucida Grande" charset="0"/>
              </a:rPr>
              <a:t>Psych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Wingdings" panose="05000000000000000000" pitchFamily="2" charset="2"/>
              </a:rPr>
              <a:t>Language</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 Poetr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Arial" panose="020B0604020202020204" pitchFamily="34" charset="0"/>
                <a:ea typeface="Lucida Grande" charset="0"/>
                <a:cs typeface="Lucida Grande" charset="0"/>
                <a:sym typeface="Wingdings" panose="05000000000000000000" pitchFamily="2" charset="2"/>
              </a:rPr>
              <a:t>Climatology </a:t>
            </a:r>
            <a:r>
              <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rPr>
              <a:t> Materials Science</a:t>
            </a:r>
            <a:endParaRPr lang="en-US" sz="2100" i="1" dirty="0">
              <a:gradFill>
                <a:gsLst>
                  <a:gs pos="50000">
                    <a:schemeClr val="tx1"/>
                  </a:gs>
                  <a:gs pos="0">
                    <a:schemeClr val="tx1">
                      <a:lumMod val="25000"/>
                      <a:lumOff val="75000"/>
                    </a:schemeClr>
                  </a:gs>
                  <a:gs pos="100000">
                    <a:schemeClr val="tx1">
                      <a:lumMod val="85000"/>
                    </a:schemeClr>
                  </a:gs>
                </a:gsLst>
                <a:lin ang="5400000" scaled="1"/>
              </a:gradFill>
              <a:latin typeface="+mj-lt"/>
              <a:ea typeface="Lucida Grande" charset="0"/>
              <a:cs typeface="Lucida Grande" charset="0"/>
              <a:sym typeface="Wingdings" panose="05000000000000000000" pitchFamily="2" charset="2"/>
            </a:endParaRPr>
          </a:p>
        </p:txBody>
      </p:sp>
      <p:sp>
        <p:nvSpPr>
          <p:cNvPr id="5" name="标题 4"/>
          <p:cNvSpPr>
            <a:spLocks noGrp="1"/>
          </p:cNvSpPr>
          <p:nvPr>
            <p:custDataLst>
              <p:tags r:id="rId2"/>
            </p:custDataLst>
          </p:nvPr>
        </p:nvSpPr>
        <p:spPr>
          <a:xfrm>
            <a:off x="755576" y="450000"/>
            <a:ext cx="7866394" cy="540000"/>
          </a:xfrm>
          <a:prstGeom prst="rect">
            <a:avLst/>
          </a:prstGeom>
        </p:spPr>
        <p:txBody>
          <a:bodyPr vert="horz" wrap="square" lIns="0" tIns="0" rIns="0" bIns="0" rtlCol="0" anchor="b">
            <a:normAutofit/>
          </a:bodyPr>
          <a:lstStyle>
            <a:lvl1pPr algn="l" defTabSz="685800" rtl="0" eaLnBrk="1" latinLnBrk="0" hangingPunct="1">
              <a:lnSpc>
                <a:spcPct val="100000"/>
              </a:lnSpc>
              <a:spcBef>
                <a:spcPct val="0"/>
              </a:spcBef>
              <a:buNone/>
              <a:defRPr sz="2400" b="1" kern="1200">
                <a:gradFill>
                  <a:gsLst>
                    <a:gs pos="100000">
                      <a:schemeClr val="accent2"/>
                    </a:gs>
                    <a:gs pos="15000">
                      <a:schemeClr val="accent1">
                        <a:lumMod val="90000"/>
                        <a:lumOff val="10000"/>
                      </a:schemeClr>
                    </a:gs>
                  </a:gsLst>
                  <a:lin ang="2700000" scaled="0"/>
                </a:gradFill>
                <a:latin typeface="+mj-lt"/>
                <a:ea typeface="+mj-ea"/>
                <a:cs typeface="+mj-cs"/>
              </a:defRPr>
            </a:lvl1pPr>
          </a:lstStyle>
          <a:p>
            <a:r>
              <a:rPr lang="zh-CN" altLang="en-US" sz="3200" dirty="0">
                <a:sym typeface="+mn-ea"/>
              </a:rPr>
              <a:t>PQDT 内容构成 </a:t>
            </a:r>
            <a:r>
              <a:rPr lang="en-US" altLang="zh-CN" sz="3200" dirty="0">
                <a:sym typeface="+mn-ea"/>
              </a:rPr>
              <a:t>- </a:t>
            </a:r>
            <a:r>
              <a:rPr lang="zh-CN" altLang="en-US" sz="3200" dirty="0">
                <a:sym typeface="+mn-ea"/>
              </a:rPr>
              <a:t>多学科</a:t>
            </a:r>
            <a:endParaRPr lang="zh-CN" altLang="en-US" sz="3200" dirty="0">
              <a:sym typeface="+mn-ea"/>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学科分布"/>
          <p:cNvPicPr/>
          <p:nvPr>
            <p:custDataLst>
              <p:tags r:id="rId1"/>
            </p:custDataLst>
          </p:nvPr>
        </p:nvPicPr>
        <p:blipFill rotWithShape="1">
          <a:blip r:embed="rId2"/>
          <a:srcRect l="3900" t="8376" r="1207" b="3965"/>
          <a:stretch>
            <a:fillRect/>
          </a:stretch>
        </p:blipFill>
        <p:spPr>
          <a:xfrm>
            <a:off x="107504" y="914873"/>
            <a:ext cx="8928992" cy="5568253"/>
          </a:xfrm>
          <a:prstGeom prst="rect">
            <a:avLst/>
          </a:prstGeom>
          <a:ln>
            <a:noFill/>
          </a:ln>
          <a:effectLst>
            <a:softEdge rad="112500"/>
          </a:effectLst>
        </p:spPr>
      </p:pic>
      <p:sp>
        <p:nvSpPr>
          <p:cNvPr id="3" name="标题 2"/>
          <p:cNvSpPr>
            <a:spLocks noGrp="1"/>
          </p:cNvSpPr>
          <p:nvPr>
            <p:ph type="title"/>
            <p:custDataLst>
              <p:tags r:id="rId3"/>
            </p:custDataLst>
          </p:nvPr>
        </p:nvSpPr>
        <p:spPr>
          <a:xfrm>
            <a:off x="522000" y="260648"/>
            <a:ext cx="8100000" cy="540000"/>
          </a:xfrm>
        </p:spPr>
        <p:txBody>
          <a:bodyPr vert="horz" wrap="square" lIns="0" tIns="0" rIns="0" bIns="0" rtlCol="0" anchor="b">
            <a:normAutofit/>
          </a:bodyPr>
          <a:lstStyle/>
          <a:p>
            <a:r>
              <a:rPr lang="en-US" altLang="zh-CN" sz="3200" dirty="0">
                <a:sym typeface="+mn-ea"/>
              </a:rPr>
              <a:t>PQDT </a:t>
            </a:r>
            <a:r>
              <a:rPr lang="zh-CN" altLang="en-US" sz="3200" dirty="0">
                <a:sym typeface="+mn-ea"/>
              </a:rPr>
              <a:t>学科分布情况 </a:t>
            </a:r>
            <a:r>
              <a:rPr lang="en-US" altLang="zh-CN" sz="3200" dirty="0">
                <a:sym typeface="+mn-ea"/>
              </a:rPr>
              <a:t>– </a:t>
            </a:r>
            <a:r>
              <a:rPr lang="zh-CN" altLang="en-US" sz="3200" dirty="0">
                <a:sym typeface="+mn-ea"/>
              </a:rPr>
              <a:t>中国组团</a:t>
            </a:r>
            <a:endParaRPr lang="zh-CN" altLang="en-US" sz="3200" dirty="0">
              <a:sym typeface="+mn-ea"/>
            </a:endParaRPr>
          </a:p>
        </p:txBody>
      </p:sp>
    </p:spTree>
    <p:custDataLst>
      <p:tags r:id="rId4"/>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pPr algn="ctr"/>
            <a:r>
              <a:rPr lang="en-US" altLang="zh-CN" sz="3600"/>
              <a:t>2024</a:t>
            </a:r>
            <a:r>
              <a:rPr lang="zh-CN" altLang="en-US" sz="3600">
                <a:ea typeface="宋体" panose="02010600030101010101" pitchFamily="2" charset="-122"/>
              </a:rPr>
              <a:t>年图灵奖</a:t>
            </a:r>
            <a:endParaRPr lang="zh-CN" altLang="en-US" sz="3600">
              <a:ea typeface="宋体" panose="02010600030101010101" pitchFamily="2" charset="-122"/>
            </a:endParaRPr>
          </a:p>
        </p:txBody>
      </p:sp>
      <p:sp>
        <p:nvSpPr>
          <p:cNvPr id="5" name="文本框 4"/>
          <p:cNvSpPr txBox="1"/>
          <p:nvPr/>
        </p:nvSpPr>
        <p:spPr>
          <a:xfrm>
            <a:off x="4452620" y="1558290"/>
            <a:ext cx="4643755" cy="4806950"/>
          </a:xfrm>
          <a:prstGeom prst="rect">
            <a:avLst/>
          </a:prstGeom>
          <a:noFill/>
        </p:spPr>
        <p:txBody>
          <a:bodyPr wrap="square" rtlCol="0">
            <a:noAutofit/>
          </a:bodyPr>
          <a:p>
            <a:pPr marL="0" indent="457200" latinLnBrk="0">
              <a:lnSpc>
                <a:spcPts val="2800"/>
              </a:lnSpc>
            </a:pPr>
            <a:r>
              <a:rPr lang="en-US" altLang="zh-CN" sz="2000">
                <a:solidFill>
                  <a:schemeClr val="accent1"/>
                </a:solidFill>
                <a:effectLst>
                  <a:outerShdw blurRad="38100" dist="25400" dir="5400000" algn="ctr" rotWithShape="0">
                    <a:srgbClr val="6E747A">
                      <a:alpha val="43000"/>
                    </a:srgbClr>
                  </a:outerShdw>
                </a:effectLst>
              </a:rPr>
              <a:t>2025</a:t>
            </a:r>
            <a:r>
              <a:rPr lang="zh-CN" altLang="en-US" sz="2000">
                <a:solidFill>
                  <a:schemeClr val="accent1"/>
                </a:solidFill>
                <a:effectLst>
                  <a:outerShdw blurRad="38100" dist="25400" dir="5400000" algn="ctr" rotWithShape="0">
                    <a:srgbClr val="6E747A">
                      <a:alpha val="43000"/>
                    </a:srgbClr>
                  </a:outerShdw>
                </a:effectLst>
                <a:ea typeface="宋体" panose="02010600030101010101" pitchFamily="2" charset="-122"/>
              </a:rPr>
              <a:t>年</a:t>
            </a:r>
            <a:r>
              <a:rPr lang="en-US" altLang="zh-CN" sz="2000">
                <a:solidFill>
                  <a:schemeClr val="accent1"/>
                </a:solidFill>
                <a:effectLst>
                  <a:outerShdw blurRad="38100" dist="25400" dir="5400000" algn="ctr" rotWithShape="0">
                    <a:srgbClr val="6E747A">
                      <a:alpha val="43000"/>
                    </a:srgbClr>
                  </a:outerShdw>
                </a:effectLst>
              </a:rPr>
              <a:t>3</a:t>
            </a:r>
            <a:r>
              <a:rPr lang="zh-CN" altLang="en-US" sz="2000">
                <a:solidFill>
                  <a:schemeClr val="accent1"/>
                </a:solidFill>
                <a:effectLst>
                  <a:outerShdw blurRad="38100" dist="25400" dir="5400000" algn="ctr" rotWithShape="0">
                    <a:srgbClr val="6E747A">
                      <a:alpha val="43000"/>
                    </a:srgbClr>
                  </a:outerShdw>
                </a:effectLst>
                <a:ea typeface="宋体" panose="02010600030101010101" pitchFamily="2" charset="-122"/>
              </a:rPr>
              <a:t>月</a:t>
            </a:r>
            <a:r>
              <a:rPr lang="en-US" altLang="zh-CN" sz="2000">
                <a:solidFill>
                  <a:schemeClr val="accent1"/>
                </a:solidFill>
                <a:effectLst>
                  <a:outerShdw blurRad="38100" dist="25400" dir="5400000" algn="ctr" rotWithShape="0">
                    <a:srgbClr val="6E747A">
                      <a:alpha val="43000"/>
                    </a:srgbClr>
                  </a:outerShdw>
                </a:effectLst>
              </a:rPr>
              <a:t>5</a:t>
            </a:r>
            <a:r>
              <a:rPr lang="zh-CN" altLang="en-US" sz="2000">
                <a:solidFill>
                  <a:schemeClr val="accent1"/>
                </a:solidFill>
                <a:effectLst>
                  <a:outerShdw blurRad="38100" dist="25400" dir="5400000" algn="ctr" rotWithShape="0">
                    <a:srgbClr val="6E747A">
                      <a:alpha val="43000"/>
                    </a:srgbClr>
                  </a:outerShdw>
                </a:effectLst>
                <a:ea typeface="宋体" panose="02010600030101010101" pitchFamily="2" charset="-122"/>
              </a:rPr>
              <a:t>日，</a:t>
            </a:r>
            <a:r>
              <a:rPr lang="zh-CN" altLang="en-US" sz="2000">
                <a:solidFill>
                  <a:schemeClr val="accent1"/>
                </a:solidFill>
                <a:effectLst>
                  <a:outerShdw blurRad="38100" dist="25400" dir="5400000" algn="ctr" rotWithShape="0">
                    <a:srgbClr val="6E747A">
                      <a:alpha val="43000"/>
                    </a:srgbClr>
                  </a:outerShdw>
                </a:effectLst>
              </a:rPr>
              <a:t>美国计算机学会（</a:t>
            </a:r>
            <a:r>
              <a:rPr lang="en-US" altLang="zh-CN" sz="2000">
                <a:solidFill>
                  <a:schemeClr val="accent1"/>
                </a:solidFill>
                <a:effectLst>
                  <a:outerShdw blurRad="38100" dist="25400" dir="5400000" algn="ctr" rotWithShape="0">
                    <a:srgbClr val="6E747A">
                      <a:alpha val="43000"/>
                    </a:srgbClr>
                  </a:outerShdw>
                </a:effectLst>
              </a:rPr>
              <a:t>ACM</a:t>
            </a:r>
            <a:r>
              <a:rPr lang="zh-CN" altLang="en-US" sz="2000">
                <a:solidFill>
                  <a:schemeClr val="accent1"/>
                </a:solidFill>
                <a:effectLst>
                  <a:outerShdw blurRad="38100" dist="25400" dir="5400000" algn="ctr" rotWithShape="0">
                    <a:srgbClr val="6E747A">
                      <a:alpha val="43000"/>
                    </a:srgbClr>
                  </a:outerShdw>
                </a:effectLst>
              </a:rPr>
              <a:t>）宣布，将</a:t>
            </a:r>
            <a:r>
              <a:rPr lang="en-US" altLang="zh-CN" sz="2000">
                <a:solidFill>
                  <a:schemeClr val="accent1"/>
                </a:solidFill>
                <a:effectLst>
                  <a:outerShdw blurRad="38100" dist="25400" dir="5400000" algn="ctr" rotWithShape="0">
                    <a:srgbClr val="6E747A">
                      <a:alpha val="43000"/>
                    </a:srgbClr>
                  </a:outerShdw>
                </a:effectLst>
              </a:rPr>
              <a:t> 2024 </a:t>
            </a:r>
            <a:r>
              <a:rPr lang="zh-CN" altLang="en-US" sz="2000">
                <a:solidFill>
                  <a:schemeClr val="accent1"/>
                </a:solidFill>
                <a:effectLst>
                  <a:outerShdw blurRad="38100" dist="25400" dir="5400000" algn="ctr" rotWithShape="0">
                    <a:srgbClr val="6E747A">
                      <a:alpha val="43000"/>
                    </a:srgbClr>
                  </a:outerShdw>
                </a:effectLst>
              </a:rPr>
              <a:t>年</a:t>
            </a:r>
            <a:r>
              <a:rPr lang="en-US" altLang="zh-CN" sz="2000">
                <a:solidFill>
                  <a:schemeClr val="accent1"/>
                </a:solidFill>
                <a:effectLst>
                  <a:outerShdw blurRad="38100" dist="25400" dir="5400000" algn="ctr" rotWithShape="0">
                    <a:srgbClr val="6E747A">
                      <a:alpha val="43000"/>
                    </a:srgbClr>
                  </a:outerShdw>
                </a:effectLst>
              </a:rPr>
              <a:t> ACM A.M. </a:t>
            </a:r>
            <a:r>
              <a:rPr lang="zh-CN" altLang="en-US" sz="2000">
                <a:solidFill>
                  <a:schemeClr val="accent1"/>
                </a:solidFill>
                <a:effectLst>
                  <a:outerShdw blurRad="38100" dist="25400" dir="5400000" algn="ctr" rotWithShape="0">
                    <a:srgbClr val="6E747A">
                      <a:alpha val="43000"/>
                    </a:srgbClr>
                  </a:outerShdw>
                </a:effectLst>
              </a:rPr>
              <a:t>图灵奖授予强化学习之父</a:t>
            </a:r>
            <a:r>
              <a:rPr lang="en-US" altLang="zh-CN" sz="2000">
                <a:solidFill>
                  <a:schemeClr val="accent1"/>
                </a:solidFill>
                <a:effectLst>
                  <a:outerShdw blurRad="38100" dist="25400" dir="5400000" algn="ctr" rotWithShape="0">
                    <a:srgbClr val="6E747A">
                      <a:alpha val="43000"/>
                    </a:srgbClr>
                  </a:outerShdw>
                </a:effectLst>
              </a:rPr>
              <a:t> </a:t>
            </a:r>
            <a:r>
              <a:rPr lang="en-US" altLang="zh-CN" sz="2000">
                <a:solidFill>
                  <a:srgbClr val="FFFF00"/>
                </a:solidFill>
                <a:effectLst>
                  <a:outerShdw blurRad="38100" dist="25400" dir="5400000" algn="ctr" rotWithShape="0">
                    <a:srgbClr val="6E747A">
                      <a:alpha val="43000"/>
                    </a:srgbClr>
                  </a:outerShdw>
                </a:effectLst>
              </a:rPr>
              <a:t>Richard Sutton</a:t>
            </a:r>
            <a:r>
              <a:rPr lang="en-US" altLang="zh-CN" sz="2000">
                <a:solidFill>
                  <a:schemeClr val="accent1"/>
                </a:solidFill>
                <a:effectLst>
                  <a:outerShdw blurRad="38100" dist="25400" dir="5400000" algn="ctr" rotWithShape="0">
                    <a:srgbClr val="6E747A">
                      <a:alpha val="43000"/>
                    </a:srgbClr>
                  </a:outerShdw>
                </a:effectLst>
              </a:rPr>
              <a:t> </a:t>
            </a:r>
            <a:r>
              <a:rPr lang="zh-CN" altLang="en-US" sz="2000">
                <a:solidFill>
                  <a:schemeClr val="accent1"/>
                </a:solidFill>
                <a:effectLst>
                  <a:outerShdw blurRad="38100" dist="25400" dir="5400000" algn="ctr" rotWithShape="0">
                    <a:srgbClr val="6E747A">
                      <a:alpha val="43000"/>
                    </a:srgbClr>
                  </a:outerShdw>
                </a:effectLst>
              </a:rPr>
              <a:t>和他的</a:t>
            </a:r>
            <a:r>
              <a:rPr lang="zh-CN" altLang="en-US" sz="2000">
                <a:solidFill>
                  <a:schemeClr val="accent1"/>
                </a:solidFill>
                <a:effectLst>
                  <a:outerShdw blurRad="38100" dist="25400" dir="5400000" algn="ctr" rotWithShape="0">
                    <a:srgbClr val="6E747A">
                      <a:alpha val="43000"/>
                    </a:srgbClr>
                  </a:outerShdw>
                </a:effectLst>
                <a:highlight>
                  <a:srgbClr val="FFFF00"/>
                </a:highlight>
              </a:rPr>
              <a:t>博士导师</a:t>
            </a:r>
            <a:r>
              <a:rPr lang="en-US" altLang="zh-CN" sz="2000">
                <a:solidFill>
                  <a:schemeClr val="accent1"/>
                </a:solidFill>
                <a:effectLst>
                  <a:outerShdw blurRad="38100" dist="25400" dir="5400000" algn="ctr" rotWithShape="0">
                    <a:srgbClr val="6E747A">
                      <a:alpha val="43000"/>
                    </a:srgbClr>
                  </a:outerShdw>
                </a:effectLst>
              </a:rPr>
              <a:t> </a:t>
            </a:r>
            <a:r>
              <a:rPr lang="en-US" altLang="zh-CN" sz="2000">
                <a:solidFill>
                  <a:srgbClr val="FFFF00"/>
                </a:solidFill>
                <a:effectLst>
                  <a:outerShdw blurRad="38100" dist="25400" dir="5400000" algn="ctr" rotWithShape="0">
                    <a:srgbClr val="6E747A">
                      <a:alpha val="43000"/>
                    </a:srgbClr>
                  </a:outerShdw>
                </a:effectLst>
              </a:rPr>
              <a:t>Andrew Barto</a:t>
            </a:r>
            <a:r>
              <a:rPr lang="zh-CN" altLang="en-US" sz="2000">
                <a:solidFill>
                  <a:schemeClr val="accent1"/>
                </a:solidFill>
                <a:effectLst>
                  <a:outerShdw blurRad="38100" dist="25400" dir="5400000" algn="ctr" rotWithShape="0">
                    <a:srgbClr val="6E747A">
                      <a:alpha val="43000"/>
                    </a:srgbClr>
                  </a:outerShdw>
                </a:effectLst>
              </a:rPr>
              <a:t>，以表彰他们开发了强化学习（</a:t>
            </a:r>
            <a:r>
              <a:rPr lang="en-US" altLang="zh-CN" sz="2000">
                <a:solidFill>
                  <a:srgbClr val="FFFF00"/>
                </a:solidFill>
                <a:effectLst>
                  <a:outerShdw blurRad="38100" dist="25400" dir="5400000" algn="ctr" rotWithShape="0">
                    <a:srgbClr val="6E747A">
                      <a:alpha val="43000"/>
                    </a:srgbClr>
                  </a:outerShdw>
                </a:effectLst>
              </a:rPr>
              <a:t>Reinforcement Learning</a:t>
            </a:r>
            <a:r>
              <a:rPr lang="zh-CN" altLang="en-US" sz="2000">
                <a:solidFill>
                  <a:schemeClr val="accent1"/>
                </a:solidFill>
                <a:effectLst>
                  <a:outerShdw blurRad="38100" dist="25400" dir="5400000" algn="ctr" rotWithShape="0">
                    <a:srgbClr val="6E747A">
                      <a:alpha val="43000"/>
                    </a:srgbClr>
                  </a:outerShdw>
                </a:effectLst>
              </a:rPr>
              <a:t>）的概念和算法基础。</a:t>
            </a:r>
            <a:endParaRPr lang="zh-CN" altLang="en-US" sz="2000">
              <a:solidFill>
                <a:schemeClr val="accent1"/>
              </a:solidFill>
              <a:effectLst>
                <a:outerShdw blurRad="38100" dist="25400" dir="5400000" algn="ctr" rotWithShape="0">
                  <a:srgbClr val="6E747A">
                    <a:alpha val="43000"/>
                  </a:srgbClr>
                </a:outerShdw>
              </a:effectLst>
            </a:endParaRPr>
          </a:p>
          <a:p>
            <a:pPr marL="0" indent="457200" latinLnBrk="0">
              <a:lnSpc>
                <a:spcPts val="2800"/>
              </a:lnSpc>
            </a:pPr>
            <a:r>
              <a:rPr lang="zh-CN" altLang="en-US" sz="2000">
                <a:solidFill>
                  <a:schemeClr val="accent1"/>
                </a:solidFill>
                <a:effectLst>
                  <a:outerShdw blurRad="38100" dist="25400" dir="5400000" algn="ctr" rotWithShape="0">
                    <a:srgbClr val="6E747A">
                      <a:alpha val="43000"/>
                    </a:srgbClr>
                  </a:outerShdw>
                </a:effectLst>
              </a:rPr>
              <a:t>近年来，</a:t>
            </a:r>
            <a:r>
              <a:rPr lang="en-US" altLang="zh-CN" sz="2000">
                <a:solidFill>
                  <a:schemeClr val="accent1"/>
                </a:solidFill>
                <a:effectLst>
                  <a:outerShdw blurRad="38100" dist="25400" dir="5400000" algn="ctr" rotWithShape="0">
                    <a:srgbClr val="6E747A">
                      <a:alpha val="43000"/>
                    </a:srgbClr>
                  </a:outerShdw>
                </a:effectLst>
              </a:rPr>
              <a:t>RL </a:t>
            </a:r>
            <a:r>
              <a:rPr lang="zh-CN" altLang="en-US" sz="2000">
                <a:solidFill>
                  <a:schemeClr val="accent1"/>
                </a:solidFill>
                <a:effectLst>
                  <a:outerShdw blurRad="38100" dist="25400" dir="5400000" algn="ctr" rotWithShape="0">
                    <a:srgbClr val="6E747A">
                      <a:alpha val="43000"/>
                    </a:srgbClr>
                  </a:outerShdw>
                </a:effectLst>
              </a:rPr>
              <a:t>结合深度学习取得突破，催生了深度强化学习技术。</a:t>
            </a:r>
            <a:r>
              <a:rPr lang="en-US" altLang="zh-CN" sz="2000">
                <a:solidFill>
                  <a:schemeClr val="accent1"/>
                </a:solidFill>
                <a:effectLst>
                  <a:outerShdw blurRad="38100" dist="25400" dir="5400000" algn="ctr" rotWithShape="0">
                    <a:srgbClr val="6E747A">
                      <a:alpha val="43000"/>
                    </a:srgbClr>
                  </a:outerShdw>
                </a:effectLst>
              </a:rPr>
              <a:t>AlphaGo </a:t>
            </a:r>
            <a:r>
              <a:rPr lang="zh-CN" altLang="en-US" sz="2000">
                <a:solidFill>
                  <a:schemeClr val="accent1"/>
                </a:solidFill>
                <a:effectLst>
                  <a:outerShdw blurRad="38100" dist="25400" dir="5400000" algn="ctr" rotWithShape="0">
                    <a:srgbClr val="6E747A">
                      <a:alpha val="43000"/>
                    </a:srgbClr>
                  </a:outerShdw>
                </a:effectLst>
              </a:rPr>
              <a:t>的成功、</a:t>
            </a:r>
            <a:r>
              <a:rPr lang="en-US" altLang="zh-CN" sz="2000">
                <a:solidFill>
                  <a:schemeClr val="accent1"/>
                </a:solidFill>
                <a:effectLst>
                  <a:outerShdw blurRad="38100" dist="25400" dir="5400000" algn="ctr" rotWithShape="0">
                    <a:srgbClr val="6E747A">
                      <a:alpha val="43000"/>
                    </a:srgbClr>
                  </a:outerShdw>
                </a:effectLst>
              </a:rPr>
              <a:t>ChatGPT </a:t>
            </a:r>
            <a:r>
              <a:rPr lang="zh-CN" altLang="en-US" sz="2000">
                <a:solidFill>
                  <a:schemeClr val="accent1"/>
                </a:solidFill>
                <a:effectLst>
                  <a:outerShdw blurRad="38100" dist="25400" dir="5400000" algn="ctr" rotWithShape="0">
                    <a:srgbClr val="6E747A">
                      <a:alpha val="43000"/>
                    </a:srgbClr>
                  </a:outerShdw>
                </a:effectLst>
              </a:rPr>
              <a:t>的</a:t>
            </a:r>
            <a:r>
              <a:rPr lang="en-US" altLang="zh-CN" sz="2000">
                <a:solidFill>
                  <a:schemeClr val="accent1"/>
                </a:solidFill>
                <a:effectLst>
                  <a:outerShdw blurRad="38100" dist="25400" dir="5400000" algn="ctr" rotWithShape="0">
                    <a:srgbClr val="6E747A">
                      <a:alpha val="43000"/>
                    </a:srgbClr>
                  </a:outerShdw>
                </a:effectLst>
              </a:rPr>
              <a:t> RLHF </a:t>
            </a:r>
            <a:r>
              <a:rPr lang="zh-CN" altLang="en-US" sz="2000">
                <a:solidFill>
                  <a:schemeClr val="accent1"/>
                </a:solidFill>
                <a:effectLst>
                  <a:outerShdw blurRad="38100" dist="25400" dir="5400000" algn="ctr" rotWithShape="0">
                    <a:srgbClr val="6E747A">
                      <a:alpha val="43000"/>
                    </a:srgbClr>
                  </a:outerShdw>
                </a:effectLst>
              </a:rPr>
              <a:t>训练、机器人操控技能学习，以及在网络拥塞控制、芯片设计、全球供应链优化等领域的应用，均展示了其强大潜力。</a:t>
            </a:r>
            <a:endParaRPr lang="zh-CN" altLang="en-US" sz="2000">
              <a:solidFill>
                <a:schemeClr val="accent1"/>
              </a:solidFill>
              <a:effectLst>
                <a:outerShdw blurRad="38100" dist="25400" dir="5400000" algn="ctr" rotWithShape="0">
                  <a:srgbClr val="6E747A">
                    <a:alpha val="43000"/>
                  </a:srgbClr>
                </a:outerShdw>
              </a:effectLst>
            </a:endParaRPr>
          </a:p>
        </p:txBody>
      </p:sp>
      <p:pic>
        <p:nvPicPr>
          <p:cNvPr id="4" name="图片 3"/>
          <p:cNvPicPr>
            <a:picLocks noChangeAspect="1"/>
          </p:cNvPicPr>
          <p:nvPr/>
        </p:nvPicPr>
        <p:blipFill>
          <a:blip r:embed="rId1"/>
          <a:stretch>
            <a:fillRect/>
          </a:stretch>
        </p:blipFill>
        <p:spPr>
          <a:xfrm>
            <a:off x="0" y="1196975"/>
            <a:ext cx="4267200" cy="565975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p:nvPr/>
        </p:nvPicPr>
        <p:blipFill>
          <a:blip r:embed="rId1"/>
          <a:stretch>
            <a:fillRect/>
          </a:stretch>
        </p:blipFill>
        <p:spPr>
          <a:xfrm>
            <a:off x="-635" y="1188720"/>
            <a:ext cx="9128125" cy="5685155"/>
          </a:xfrm>
          <a:prstGeom prst="rect">
            <a:avLst/>
          </a:prstGeom>
        </p:spPr>
      </p:pic>
      <p:sp>
        <p:nvSpPr>
          <p:cNvPr id="2969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首页</a:t>
            </a:r>
            <a:br>
              <a:rPr lang="en-US" altLang="zh-CN" sz="2800">
                <a:ea typeface="宋体" panose="02010600030101010101" pitchFamily="2" charset="-122"/>
              </a:rPr>
            </a:br>
            <a:r>
              <a:rPr lang="en-US" altLang="zh-CN" sz="2800">
                <a:ea typeface="宋体" panose="02010600030101010101" pitchFamily="2" charset="-122"/>
              </a:rPr>
              <a:t>www.pqdtcn.com</a:t>
            </a:r>
            <a:endParaRPr lang="zh-CN" altLang="en-US" sz="2800">
              <a:ea typeface="宋体" panose="02010600030101010101" pitchFamily="2" charset="-122"/>
            </a:endParaRPr>
          </a:p>
        </p:txBody>
      </p:sp>
      <p:cxnSp>
        <p:nvCxnSpPr>
          <p:cNvPr id="29700" name="直接箭头连接符 6"/>
          <p:cNvCxnSpPr>
            <a:cxnSpLocks noChangeShapeType="1"/>
          </p:cNvCxnSpPr>
          <p:nvPr/>
        </p:nvCxnSpPr>
        <p:spPr bwMode="auto">
          <a:xfrm flipV="1">
            <a:off x="2281555" y="5373054"/>
            <a:ext cx="302260" cy="396240"/>
          </a:xfrm>
          <a:prstGeom prst="straightConnector1">
            <a:avLst/>
          </a:prstGeom>
          <a:noFill/>
          <a:ln w="9525" algn="ctr">
            <a:solidFill>
              <a:srgbClr val="FF0000"/>
            </a:solidFill>
            <a:round/>
            <a:tailEnd type="arrow" w="med" len="med"/>
          </a:ln>
          <a:extLst>
            <a:ext uri="{909E8E84-426E-40DD-AFC4-6F175D3DCCD1}">
              <a14:hiddenFill xmlns:a14="http://schemas.microsoft.com/office/drawing/2010/main">
                <a:noFill/>
              </a14:hiddenFill>
            </a:ext>
          </a:extLst>
        </p:spPr>
      </p:cxnSp>
      <p:sp>
        <p:nvSpPr>
          <p:cNvPr id="29701" name="TextBox 7"/>
          <p:cNvSpPr txBox="1">
            <a:spLocks noChangeArrowheads="1"/>
          </p:cNvSpPr>
          <p:nvPr/>
        </p:nvSpPr>
        <p:spPr bwMode="auto">
          <a:xfrm>
            <a:off x="1403668" y="5769610"/>
            <a:ext cx="10972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舆情分析</a:t>
            </a:r>
            <a:endParaRPr lang="zh-CN" altLang="en-US">
              <a:solidFill>
                <a:srgbClr val="FF0000"/>
              </a:solidFill>
              <a:ea typeface="宋体" panose="02010600030101010101" pitchFamily="2" charset="-122"/>
            </a:endParaRPr>
          </a:p>
        </p:txBody>
      </p:sp>
      <p:cxnSp>
        <p:nvCxnSpPr>
          <p:cNvPr id="29702" name="直接箭头连接符 9"/>
          <p:cNvCxnSpPr>
            <a:cxnSpLocks noChangeShapeType="1"/>
          </p:cNvCxnSpPr>
          <p:nvPr/>
        </p:nvCxnSpPr>
        <p:spPr bwMode="auto">
          <a:xfrm flipH="1" flipV="1">
            <a:off x="5364480" y="4149090"/>
            <a:ext cx="1729105" cy="136842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29703" name="TextBox 10"/>
          <p:cNvSpPr txBox="1">
            <a:spLocks noChangeArrowheads="1"/>
          </p:cNvSpPr>
          <p:nvPr/>
        </p:nvSpPr>
        <p:spPr bwMode="auto">
          <a:xfrm>
            <a:off x="7091998" y="5444808"/>
            <a:ext cx="201168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新论文上线情况、</a:t>
            </a:r>
            <a:endParaRPr lang="zh-CN" altLang="en-US">
              <a:solidFill>
                <a:srgbClr val="FF0000"/>
              </a:solidFill>
              <a:ea typeface="宋体" panose="02010600030101010101" pitchFamily="2" charset="-122"/>
            </a:endParaRPr>
          </a:p>
          <a:p>
            <a:r>
              <a:rPr lang="zh-CN" altLang="en-US">
                <a:solidFill>
                  <a:srgbClr val="FF0000"/>
                </a:solidFill>
                <a:ea typeface="宋体" panose="02010600030101010101" pitchFamily="2" charset="-122"/>
              </a:rPr>
              <a:t>平台新闻通告等</a:t>
            </a:r>
            <a:endParaRPr lang="zh-CN" altLang="en-US">
              <a:solidFill>
                <a:srgbClr val="FF0000"/>
              </a:solidFill>
              <a:ea typeface="宋体" panose="02010600030101010101" pitchFamily="2" charset="-122"/>
            </a:endParaRPr>
          </a:p>
        </p:txBody>
      </p:sp>
      <p:cxnSp>
        <p:nvCxnSpPr>
          <p:cNvPr id="29704" name="直接箭头连接符 11"/>
          <p:cNvCxnSpPr>
            <a:cxnSpLocks noChangeShapeType="1"/>
          </p:cNvCxnSpPr>
          <p:nvPr/>
        </p:nvCxnSpPr>
        <p:spPr bwMode="auto">
          <a:xfrm>
            <a:off x="1836103" y="2651125"/>
            <a:ext cx="720090" cy="1038860"/>
          </a:xfrm>
          <a:prstGeom prst="straightConnector1">
            <a:avLst/>
          </a:prstGeom>
          <a:noFill/>
          <a:ln w="9525" algn="ctr">
            <a:solidFill>
              <a:srgbClr val="FF0000"/>
            </a:solidFill>
            <a:round/>
            <a:tailEnd type="arrow" w="med" len="med"/>
          </a:ln>
          <a:extLst>
            <a:ext uri="{909E8E84-426E-40DD-AFC4-6F175D3DCCD1}">
              <a14:hiddenFill xmlns:a14="http://schemas.microsoft.com/office/drawing/2010/main">
                <a:noFill/>
              </a14:hiddenFill>
            </a:ext>
          </a:extLst>
        </p:spPr>
      </p:cxnSp>
      <p:sp>
        <p:nvSpPr>
          <p:cNvPr id="29705" name="TextBox 13"/>
          <p:cNvSpPr txBox="1">
            <a:spLocks noChangeArrowheads="1"/>
          </p:cNvSpPr>
          <p:nvPr/>
        </p:nvSpPr>
        <p:spPr bwMode="auto">
          <a:xfrm>
            <a:off x="252095" y="2248853"/>
            <a:ext cx="24688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精确检索锁定专业词汇</a:t>
            </a:r>
            <a:endParaRPr lang="zh-CN" altLang="en-US">
              <a:solidFill>
                <a:srgbClr val="FF0000"/>
              </a:solidFill>
              <a:ea typeface="宋体" panose="02010600030101010101" pitchFamily="2" charset="-122"/>
            </a:endParaRPr>
          </a:p>
        </p:txBody>
      </p:sp>
      <p:sp>
        <p:nvSpPr>
          <p:cNvPr id="29706" name="TextBox 7"/>
          <p:cNvSpPr txBox="1">
            <a:spLocks noChangeArrowheads="1"/>
          </p:cNvSpPr>
          <p:nvPr/>
        </p:nvSpPr>
        <p:spPr bwMode="auto">
          <a:xfrm>
            <a:off x="3420110" y="1690053"/>
            <a:ext cx="272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读者个性化账号注册入口</a:t>
            </a:r>
            <a:endParaRPr lang="zh-CN" altLang="en-US">
              <a:solidFill>
                <a:srgbClr val="FF0000"/>
              </a:solidFill>
              <a:ea typeface="宋体" panose="02010600030101010101" pitchFamily="2" charset="-122"/>
            </a:endParaRPr>
          </a:p>
        </p:txBody>
      </p:sp>
      <p:cxnSp>
        <p:nvCxnSpPr>
          <p:cNvPr id="29707" name="直接箭头连接符 6"/>
          <p:cNvCxnSpPr>
            <a:cxnSpLocks noChangeShapeType="1"/>
          </p:cNvCxnSpPr>
          <p:nvPr/>
        </p:nvCxnSpPr>
        <p:spPr bwMode="auto">
          <a:xfrm flipV="1">
            <a:off x="6047740" y="1545590"/>
            <a:ext cx="2197100" cy="321945"/>
          </a:xfrm>
          <a:prstGeom prst="straightConnector1">
            <a:avLst/>
          </a:prstGeom>
          <a:noFill/>
          <a:ln w="9525" algn="ctr">
            <a:solidFill>
              <a:srgbClr val="FF0000"/>
            </a:solidFill>
            <a:round/>
            <a:tailEnd type="arrow" w="med" len="med"/>
          </a:ln>
          <a:extLst>
            <a:ext uri="{909E8E84-426E-40DD-AFC4-6F175D3DCCD1}">
              <a14:hiddenFill xmlns:a14="http://schemas.microsoft.com/office/drawing/2010/main">
                <a:noFill/>
              </a14:hiddenFill>
            </a:ext>
          </a:extLst>
        </p:spPr>
      </p:cxnSp>
      <p:sp>
        <p:nvSpPr>
          <p:cNvPr id="29708" name="TextBox 7"/>
          <p:cNvSpPr txBox="1">
            <a:spLocks noChangeArrowheads="1"/>
          </p:cNvSpPr>
          <p:nvPr/>
        </p:nvSpPr>
        <p:spPr bwMode="auto">
          <a:xfrm>
            <a:off x="6228398" y="1772920"/>
            <a:ext cx="272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机构管理员账号注册入口</a:t>
            </a:r>
            <a:endParaRPr lang="zh-CN" altLang="en-US">
              <a:solidFill>
                <a:srgbClr val="FF0000"/>
              </a:solidFill>
              <a:ea typeface="宋体" panose="02010600030101010101" pitchFamily="2" charset="-122"/>
            </a:endParaRPr>
          </a:p>
        </p:txBody>
      </p:sp>
      <p:cxnSp>
        <p:nvCxnSpPr>
          <p:cNvPr id="29709" name="直接箭头连接符 6"/>
          <p:cNvCxnSpPr>
            <a:cxnSpLocks noChangeShapeType="1"/>
          </p:cNvCxnSpPr>
          <p:nvPr/>
        </p:nvCxnSpPr>
        <p:spPr bwMode="auto">
          <a:xfrm flipV="1">
            <a:off x="8244840" y="1545590"/>
            <a:ext cx="215900" cy="216535"/>
          </a:xfrm>
          <a:prstGeom prst="straightConnector1">
            <a:avLst/>
          </a:prstGeom>
          <a:noFill/>
          <a:ln w="9525" algn="ctr">
            <a:solidFill>
              <a:srgbClr val="FF0000"/>
            </a:solidFill>
            <a:round/>
            <a:tailEnd type="arrow" w="med" len="med"/>
          </a:ln>
          <a:extLst>
            <a:ext uri="{909E8E84-426E-40DD-AFC4-6F175D3DCCD1}">
              <a14:hiddenFill xmlns:a14="http://schemas.microsoft.com/office/drawing/2010/main">
                <a:noFill/>
              </a14:hiddenFill>
            </a:ext>
          </a:extLst>
        </p:spPr>
      </p:cxnSp>
      <p:sp>
        <p:nvSpPr>
          <p:cNvPr id="29710" name="TextBox 10"/>
          <p:cNvSpPr txBox="1">
            <a:spLocks noChangeArrowheads="1"/>
          </p:cNvSpPr>
          <p:nvPr/>
        </p:nvSpPr>
        <p:spPr bwMode="auto">
          <a:xfrm>
            <a:off x="5652135" y="2249170"/>
            <a:ext cx="2987675" cy="72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l"/>
            <a:r>
              <a:rPr lang="zh-CN" altLang="en-US" sz="1600">
                <a:solidFill>
                  <a:srgbClr val="FF0000"/>
                </a:solidFill>
                <a:ea typeface="宋体" panose="02010600030101010101" pitchFamily="2" charset="-122"/>
              </a:rPr>
              <a:t>以</a:t>
            </a:r>
            <a:r>
              <a:rPr lang="en-US" altLang="zh-CN" sz="1600">
                <a:solidFill>
                  <a:srgbClr val="FF0000"/>
                </a:solidFill>
                <a:ea typeface="宋体" panose="02010600030101010101" pitchFamily="2" charset="-122"/>
              </a:rPr>
              <a:t>2024</a:t>
            </a:r>
            <a:r>
              <a:rPr lang="zh-CN" altLang="en-US" sz="1600">
                <a:solidFill>
                  <a:srgbClr val="FF0000"/>
                </a:solidFill>
                <a:ea typeface="宋体" panose="02010600030101010101" pitchFamily="2" charset="-122"/>
              </a:rPr>
              <a:t>年图灵奖课题</a:t>
            </a:r>
            <a:r>
              <a:rPr lang="zh-CN" sz="1600">
                <a:ln w="9525" cmpd="sng">
                  <a:solidFill>
                    <a:srgbClr val="FF0000"/>
                  </a:solidFill>
                  <a:prstDash val="solid"/>
                </a:ln>
                <a:solidFill>
                  <a:srgbClr val="70AD47">
                    <a:tint val="1000"/>
                  </a:srgbClr>
                </a:solidFill>
                <a:effectLst/>
                <a:ea typeface="宋体" panose="02010600030101010101" pitchFamily="2" charset="-122"/>
                <a:sym typeface="+mn-ea"/>
              </a:rPr>
              <a:t>加强学习</a:t>
            </a:r>
            <a:r>
              <a:rPr lang="zh-CN" altLang="en-US" sz="1600">
                <a:solidFill>
                  <a:srgbClr val="FF0000"/>
                </a:solidFill>
                <a:ea typeface="宋体" panose="02010600030101010101" pitchFamily="2" charset="-122"/>
                <a:sym typeface="+mn-ea"/>
              </a:rPr>
              <a:t>为例</a:t>
            </a:r>
            <a:endParaRPr sz="1600">
              <a:ln w="9525" cmpd="sng">
                <a:solidFill>
                  <a:srgbClr val="FF0000"/>
                </a:solidFill>
                <a:prstDash val="solid"/>
              </a:ln>
              <a:solidFill>
                <a:srgbClr val="70AD47">
                  <a:tint val="1000"/>
                </a:srgbClr>
              </a:solidFill>
              <a:effectLst/>
              <a:sym typeface="+mn-ea"/>
            </a:endParaRPr>
          </a:p>
          <a:p>
            <a:pPr algn="l"/>
            <a:r>
              <a:rPr lang="en-US" altLang="zh-CN" sz="1600">
                <a:solidFill>
                  <a:srgbClr val="FF0000"/>
                </a:solidFill>
                <a:ea typeface="宋体" panose="02010600030101010101" pitchFamily="2" charset="-122"/>
              </a:rPr>
              <a:t>Reinforcement Learning，即RL”</a:t>
            </a:r>
            <a:endParaRPr lang="en-US" altLang="zh-CN" sz="1600">
              <a:solidFill>
                <a:srgbClr val="FF0000"/>
              </a:solidFill>
              <a:ea typeface="宋体" panose="02010600030101010101" pitchFamily="2" charset="-122"/>
            </a:endParaRPr>
          </a:p>
        </p:txBody>
      </p:sp>
      <p:cxnSp>
        <p:nvCxnSpPr>
          <p:cNvPr id="29711" name="直接箭头连接符 9"/>
          <p:cNvCxnSpPr>
            <a:cxnSpLocks noChangeShapeType="1"/>
            <a:stCxn id="29710" idx="1"/>
          </p:cNvCxnSpPr>
          <p:nvPr/>
        </p:nvCxnSpPr>
        <p:spPr bwMode="auto">
          <a:xfrm flipH="1">
            <a:off x="3708400" y="2610485"/>
            <a:ext cx="1943735" cy="67437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stretch>
            <a:fillRect/>
          </a:stretch>
        </p:blipFill>
        <p:spPr>
          <a:xfrm>
            <a:off x="683895" y="1196975"/>
            <a:ext cx="7715250" cy="5305425"/>
          </a:xfrm>
          <a:prstGeom prst="rect">
            <a:avLst/>
          </a:prstGeom>
        </p:spPr>
      </p:pic>
      <p:pic>
        <p:nvPicPr>
          <p:cNvPr id="3" name="图片 2"/>
          <p:cNvPicPr/>
          <p:nvPr/>
        </p:nvPicPr>
        <p:blipFill>
          <a:blip r:embed="rId2"/>
          <a:stretch>
            <a:fillRect/>
          </a:stretch>
        </p:blipFill>
        <p:spPr>
          <a:xfrm>
            <a:off x="-4445" y="1163955"/>
            <a:ext cx="9145270" cy="5694045"/>
          </a:xfrm>
          <a:prstGeom prst="rect">
            <a:avLst/>
          </a:prstGeom>
        </p:spPr>
      </p:pic>
      <p:cxnSp>
        <p:nvCxnSpPr>
          <p:cNvPr id="30723" name="直接箭头连接符 8"/>
          <p:cNvCxnSpPr>
            <a:cxnSpLocks noChangeShapeType="1"/>
          </p:cNvCxnSpPr>
          <p:nvPr/>
        </p:nvCxnSpPr>
        <p:spPr bwMode="auto">
          <a:xfrm rot="5400000" flipH="1" flipV="1">
            <a:off x="7985284" y="1665764"/>
            <a:ext cx="285750" cy="71438"/>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0724" name="TextBox 9"/>
          <p:cNvSpPr txBox="1">
            <a:spLocks noChangeArrowheads="1"/>
          </p:cNvSpPr>
          <p:nvPr/>
        </p:nvSpPr>
        <p:spPr bwMode="auto">
          <a:xfrm>
            <a:off x="7092315" y="1844358"/>
            <a:ext cx="180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个性化账号注册</a:t>
            </a:r>
            <a:endParaRPr lang="zh-CN" altLang="en-US">
              <a:solidFill>
                <a:srgbClr val="FF0000"/>
              </a:solidFill>
              <a:ea typeface="宋体" panose="02010600030101010101" pitchFamily="2" charset="-122"/>
            </a:endParaRPr>
          </a:p>
        </p:txBody>
      </p:sp>
      <p:cxnSp>
        <p:nvCxnSpPr>
          <p:cNvPr id="30725" name="直接箭头连接符 11"/>
          <p:cNvCxnSpPr>
            <a:cxnSpLocks noChangeShapeType="1"/>
          </p:cNvCxnSpPr>
          <p:nvPr/>
        </p:nvCxnSpPr>
        <p:spPr bwMode="auto">
          <a:xfrm flipH="1">
            <a:off x="5007610" y="4217035"/>
            <a:ext cx="360680" cy="14922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0726" name="TextBox 12"/>
          <p:cNvSpPr txBox="1">
            <a:spLocks noChangeArrowheads="1"/>
          </p:cNvSpPr>
          <p:nvPr/>
        </p:nvSpPr>
        <p:spPr bwMode="auto">
          <a:xfrm>
            <a:off x="5367973" y="3987483"/>
            <a:ext cx="272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支持第三方文献整理软件</a:t>
            </a:r>
            <a:endParaRPr lang="zh-CN" altLang="en-US">
              <a:solidFill>
                <a:srgbClr val="FF0000"/>
              </a:solidFill>
              <a:ea typeface="宋体" panose="02010600030101010101" pitchFamily="2" charset="-122"/>
            </a:endParaRPr>
          </a:p>
        </p:txBody>
      </p:sp>
      <p:cxnSp>
        <p:nvCxnSpPr>
          <p:cNvPr id="30727" name="直接箭头连接符 14"/>
          <p:cNvCxnSpPr>
            <a:cxnSpLocks noChangeShapeType="1"/>
          </p:cNvCxnSpPr>
          <p:nvPr/>
        </p:nvCxnSpPr>
        <p:spPr bwMode="auto">
          <a:xfrm flipH="1" flipV="1">
            <a:off x="5868035" y="4678680"/>
            <a:ext cx="354965" cy="25717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0728" name="TextBox 15"/>
          <p:cNvSpPr txBox="1">
            <a:spLocks noChangeArrowheads="1"/>
          </p:cNvSpPr>
          <p:nvPr/>
        </p:nvSpPr>
        <p:spPr bwMode="auto">
          <a:xfrm>
            <a:off x="6156325" y="4724718"/>
            <a:ext cx="29543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支持部分引文格式复制引用</a:t>
            </a:r>
            <a:endParaRPr lang="zh-CN" altLang="en-US">
              <a:solidFill>
                <a:srgbClr val="FF0000"/>
              </a:solidFill>
              <a:ea typeface="宋体" panose="02010600030101010101" pitchFamily="2" charset="-122"/>
            </a:endParaRPr>
          </a:p>
        </p:txBody>
      </p:sp>
      <p:sp>
        <p:nvSpPr>
          <p:cNvPr id="30729" name="TextBox 15"/>
          <p:cNvSpPr txBox="1">
            <a:spLocks noChangeArrowheads="1"/>
          </p:cNvSpPr>
          <p:nvPr/>
        </p:nvSpPr>
        <p:spPr bwMode="auto">
          <a:xfrm>
            <a:off x="4571683" y="5373370"/>
            <a:ext cx="3646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可在检索结果页直接查看摘要信息</a:t>
            </a:r>
            <a:endParaRPr lang="zh-CN" altLang="en-US">
              <a:solidFill>
                <a:srgbClr val="FF0000"/>
              </a:solidFill>
              <a:ea typeface="宋体" panose="02010600030101010101" pitchFamily="2" charset="-122"/>
            </a:endParaRPr>
          </a:p>
        </p:txBody>
      </p:sp>
      <p:cxnSp>
        <p:nvCxnSpPr>
          <p:cNvPr id="30730" name="直接箭头连接符 14"/>
          <p:cNvCxnSpPr>
            <a:cxnSpLocks noChangeShapeType="1"/>
          </p:cNvCxnSpPr>
          <p:nvPr/>
        </p:nvCxnSpPr>
        <p:spPr bwMode="auto">
          <a:xfrm>
            <a:off x="6443980" y="5661660"/>
            <a:ext cx="1368425" cy="2159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0731"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pic>
        <p:nvPicPr>
          <p:cNvPr id="2" name="图片 1"/>
          <p:cNvPicPr>
            <a:picLocks noChangeAspect="1"/>
          </p:cNvPicPr>
          <p:nvPr/>
        </p:nvPicPr>
        <p:blipFill>
          <a:blip r:embed="rId3"/>
          <a:stretch>
            <a:fillRect/>
          </a:stretch>
        </p:blipFill>
        <p:spPr>
          <a:xfrm>
            <a:off x="7524115" y="2132965"/>
            <a:ext cx="1456690" cy="1716405"/>
          </a:xfrm>
          <a:prstGeom prst="rect">
            <a:avLst/>
          </a:prstGeom>
        </p:spPr>
      </p:pic>
      <p:pic>
        <p:nvPicPr>
          <p:cNvPr id="9" name="图片 8"/>
          <p:cNvPicPr>
            <a:picLocks noChangeAspect="1"/>
          </p:cNvPicPr>
          <p:nvPr/>
        </p:nvPicPr>
        <p:blipFill>
          <a:blip r:embed="rId4"/>
          <a:stretch>
            <a:fillRect/>
          </a:stretch>
        </p:blipFill>
        <p:spPr>
          <a:xfrm>
            <a:off x="107315" y="1484630"/>
            <a:ext cx="4020000" cy="1440000"/>
          </a:xfrm>
          <a:prstGeom prst="rect">
            <a:avLst/>
          </a:prstGeom>
        </p:spPr>
      </p:pic>
      <p:sp>
        <p:nvSpPr>
          <p:cNvPr id="6" name="矩形 5"/>
          <p:cNvSpPr/>
          <p:nvPr/>
        </p:nvSpPr>
        <p:spPr>
          <a:xfrm>
            <a:off x="3347720" y="4149090"/>
            <a:ext cx="840740" cy="209550"/>
          </a:xfrm>
          <a:prstGeom prst="rect">
            <a:avLst/>
          </a:prstGeom>
          <a:noFill/>
          <a:ln w="190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
            <a:pPr marL="0" marR="0" indent="0" algn="l" defTabSz="914400" rtl="0" eaLnBrk="0" fontAlgn="base" latinLnBrk="0" hangingPunct="0">
              <a:lnSpc>
                <a:spcPct val="100000"/>
              </a:lnSpc>
              <a:spcBef>
                <a:spcPct val="0"/>
              </a:spcBef>
              <a:spcAft>
                <a:spcPct val="0"/>
              </a:spcAft>
              <a:buClrTx/>
              <a:buSzTx/>
              <a:buFontTx/>
              <a:buNone/>
            </a:pPr>
            <a:endParaRPr kumimoji="0" lang="en-US" altLang="en-US" sz="1800" b="0" i="0" u="none" strike="noStrike" cap="none" normalizeH="0" baseline="0" smtClean="0">
              <a:ln>
                <a:noFill/>
              </a:ln>
              <a:solidFill>
                <a:schemeClr val="tx1"/>
              </a:solidFill>
              <a:effectLst/>
              <a:latin typeface="Times New Roman" panose="02020603050405020304" pitchFamily="18" charset="0"/>
            </a:endParaRPr>
          </a:p>
        </p:txBody>
      </p:sp>
      <p:sp>
        <p:nvSpPr>
          <p:cNvPr id="7" name="矩形 6"/>
          <p:cNvSpPr/>
          <p:nvPr/>
        </p:nvSpPr>
        <p:spPr>
          <a:xfrm>
            <a:off x="4791710" y="4429760"/>
            <a:ext cx="640715" cy="222885"/>
          </a:xfrm>
          <a:prstGeom prst="rect">
            <a:avLst/>
          </a:prstGeom>
          <a:noFill/>
          <a:ln w="190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
            <a:pPr marL="0" marR="0" indent="0" algn="l" defTabSz="914400" rtl="0" eaLnBrk="0" fontAlgn="base" latinLnBrk="0" hangingPunct="0">
              <a:lnSpc>
                <a:spcPct val="100000"/>
              </a:lnSpc>
              <a:spcBef>
                <a:spcPct val="0"/>
              </a:spcBef>
              <a:spcAft>
                <a:spcPct val="0"/>
              </a:spcAft>
              <a:buClrTx/>
              <a:buSzTx/>
              <a:buFontTx/>
              <a:buNone/>
            </a:pPr>
            <a:endParaRPr kumimoji="0" lang="en-US" altLang="en-US" sz="1800" b="0" i="0" u="none" strike="noStrike" cap="none" normalizeH="0" baseline="0" smtClean="0">
              <a:ln>
                <a:noFill/>
              </a:ln>
              <a:solidFill>
                <a:schemeClr val="tx1"/>
              </a:solidFill>
              <a:effectLst/>
              <a:latin typeface="Times New Roman" panose="02020603050405020304" pitchFamily="18" charset="0"/>
            </a:endParaRPr>
          </a:p>
        </p:txBody>
      </p:sp>
      <p:sp>
        <p:nvSpPr>
          <p:cNvPr id="8" name="矩形 7"/>
          <p:cNvSpPr/>
          <p:nvPr/>
        </p:nvSpPr>
        <p:spPr>
          <a:xfrm>
            <a:off x="5507990" y="4432935"/>
            <a:ext cx="586105" cy="219710"/>
          </a:xfrm>
          <a:prstGeom prst="rect">
            <a:avLst/>
          </a:prstGeom>
          <a:noFill/>
          <a:ln w="190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
            <a:pPr marL="0" marR="0" indent="0" algn="l" defTabSz="914400" rtl="0" eaLnBrk="0" fontAlgn="base" latinLnBrk="0" hangingPunct="0">
              <a:lnSpc>
                <a:spcPct val="100000"/>
              </a:lnSpc>
              <a:spcBef>
                <a:spcPct val="0"/>
              </a:spcBef>
              <a:spcAft>
                <a:spcPct val="0"/>
              </a:spcAft>
              <a:buClrTx/>
              <a:buSzTx/>
              <a:buFontTx/>
              <a:buNone/>
            </a:pPr>
            <a:endParaRPr kumimoji="0" lang="en-US" altLang="en-US" sz="1800" b="0" i="0" u="none" strike="noStrike" cap="none" normalizeH="0" baseline="0" smtClean="0">
              <a:ln>
                <a:noFill/>
              </a:ln>
              <a:solidFill>
                <a:schemeClr val="tx1"/>
              </a:solidFill>
              <a:effectLst/>
              <a:latin typeface="Times New Roman" panose="02020603050405020304" pitchFamily="18" charset="0"/>
            </a:endParaRPr>
          </a:p>
        </p:txBody>
      </p:sp>
      <p:cxnSp>
        <p:nvCxnSpPr>
          <p:cNvPr id="5" name="直接箭头连接符 4"/>
          <p:cNvCxnSpPr/>
          <p:nvPr/>
        </p:nvCxnSpPr>
        <p:spPr>
          <a:xfrm flipV="1">
            <a:off x="1676400" y="5373370"/>
            <a:ext cx="450215" cy="319405"/>
          </a:xfrm>
          <a:prstGeom prst="straightConnector1">
            <a:avLst/>
          </a:prstGeom>
          <a:solidFill>
            <a:schemeClr val="accent1"/>
          </a:solidFill>
          <a:ln w="19050" cap="flat" cmpd="sng" algn="ctr">
            <a:solidFill>
              <a:srgbClr val="FF0000"/>
            </a:solidFill>
            <a:prstDash val="solid"/>
            <a:round/>
            <a:headEnd type="none" w="med" len="med"/>
            <a:tailEnd type="arrow" w="med" len="med"/>
          </a:ln>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0725"/>
                                        </p:tgtEl>
                                        <p:attrNameLst>
                                          <p:attrName>style.visibility</p:attrName>
                                        </p:attrNameLst>
                                      </p:cBhvr>
                                      <p:to>
                                        <p:strVal val="visible"/>
                                      </p:to>
                                    </p:set>
                                    <p:anim calcmode="lin" valueType="num">
                                      <p:cBhvr additive="base">
                                        <p:cTn id="17" dur="500" fill="hold"/>
                                        <p:tgtEl>
                                          <p:spTgt spid="30725"/>
                                        </p:tgtEl>
                                        <p:attrNameLst>
                                          <p:attrName>ppt_x</p:attrName>
                                        </p:attrNameLst>
                                      </p:cBhvr>
                                      <p:tavLst>
                                        <p:tav tm="0">
                                          <p:val>
                                            <p:strVal val="#ppt_x"/>
                                          </p:val>
                                        </p:tav>
                                        <p:tav tm="100000">
                                          <p:val>
                                            <p:strVal val="#ppt_x"/>
                                          </p:val>
                                        </p:tav>
                                      </p:tavLst>
                                    </p:anim>
                                    <p:anim calcmode="lin" valueType="num">
                                      <p:cBhvr additive="base">
                                        <p:cTn id="18" dur="500" fill="hold"/>
                                        <p:tgtEl>
                                          <p:spTgt spid="3072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0726"/>
                                        </p:tgtEl>
                                        <p:attrNameLst>
                                          <p:attrName>style.visibility</p:attrName>
                                        </p:attrNameLst>
                                      </p:cBhvr>
                                      <p:to>
                                        <p:strVal val="visible"/>
                                      </p:to>
                                    </p:set>
                                    <p:anim calcmode="lin" valueType="num">
                                      <p:cBhvr additive="base">
                                        <p:cTn id="21" dur="500" fill="hold"/>
                                        <p:tgtEl>
                                          <p:spTgt spid="30726"/>
                                        </p:tgtEl>
                                        <p:attrNameLst>
                                          <p:attrName>ppt_x</p:attrName>
                                        </p:attrNameLst>
                                      </p:cBhvr>
                                      <p:tavLst>
                                        <p:tav tm="0">
                                          <p:val>
                                            <p:strVal val="#ppt_x"/>
                                          </p:val>
                                        </p:tav>
                                        <p:tav tm="100000">
                                          <p:val>
                                            <p:strVal val="#ppt_x"/>
                                          </p:val>
                                        </p:tav>
                                      </p:tavLst>
                                    </p:anim>
                                    <p:anim calcmode="lin" valueType="num">
                                      <p:cBhvr additive="base">
                                        <p:cTn id="22" dur="500" fill="hold"/>
                                        <p:tgtEl>
                                          <p:spTgt spid="30726"/>
                                        </p:tgtEl>
                                        <p:attrNameLst>
                                          <p:attrName>ppt_y</p:attrName>
                                        </p:attrNameLst>
                                      </p:cBhvr>
                                      <p:tavLst>
                                        <p:tav tm="0">
                                          <p:val>
                                            <p:strVal val="1+#ppt_h/2"/>
                                          </p:val>
                                        </p:tav>
                                        <p:tav tm="100000">
                                          <p:val>
                                            <p:strVal val="#ppt_y"/>
                                          </p:val>
                                        </p:tav>
                                      </p:tavLst>
                                    </p:anim>
                                  </p:childTnLst>
                                </p:cTn>
                              </p:par>
                            </p:childTnLst>
                          </p:cTn>
                        </p:par>
                        <p:par>
                          <p:cTn id="23" fill="hold">
                            <p:stCondLst>
                              <p:cond delay="500"/>
                            </p:stCondLst>
                            <p:childTnLst>
                              <p:par>
                                <p:cTn id="24" presetID="26" presetClass="entr" presetSubtype="0" fill="hold" nodeType="after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wipe(down)">
                                      <p:cBhvr>
                                        <p:cTn id="26" dur="580">
                                          <p:stCondLst>
                                            <p:cond delay="0"/>
                                          </p:stCondLst>
                                        </p:cTn>
                                        <p:tgtEl>
                                          <p:spTgt spid="2"/>
                                        </p:tgtEl>
                                      </p:cBhvr>
                                    </p:animEffect>
                                    <p:anim calcmode="lin" valueType="num">
                                      <p:cBhvr>
                                        <p:cTn id="27"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28"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29"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30"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31"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32" dur="26">
                                          <p:stCondLst>
                                            <p:cond delay="650"/>
                                          </p:stCondLst>
                                        </p:cTn>
                                        <p:tgtEl>
                                          <p:spTgt spid="2"/>
                                        </p:tgtEl>
                                      </p:cBhvr>
                                      <p:to x="100000" y="60000"/>
                                    </p:animScale>
                                    <p:animScale>
                                      <p:cBhvr>
                                        <p:cTn id="33" dur="166" decel="50000">
                                          <p:stCondLst>
                                            <p:cond delay="676"/>
                                          </p:stCondLst>
                                        </p:cTn>
                                        <p:tgtEl>
                                          <p:spTgt spid="2"/>
                                        </p:tgtEl>
                                      </p:cBhvr>
                                      <p:to x="100000" y="100000"/>
                                    </p:animScale>
                                    <p:animScale>
                                      <p:cBhvr>
                                        <p:cTn id="34" dur="26">
                                          <p:stCondLst>
                                            <p:cond delay="1312"/>
                                          </p:stCondLst>
                                        </p:cTn>
                                        <p:tgtEl>
                                          <p:spTgt spid="2"/>
                                        </p:tgtEl>
                                      </p:cBhvr>
                                      <p:to x="100000" y="80000"/>
                                    </p:animScale>
                                    <p:animScale>
                                      <p:cBhvr>
                                        <p:cTn id="35" dur="166" decel="50000">
                                          <p:stCondLst>
                                            <p:cond delay="1338"/>
                                          </p:stCondLst>
                                        </p:cTn>
                                        <p:tgtEl>
                                          <p:spTgt spid="2"/>
                                        </p:tgtEl>
                                      </p:cBhvr>
                                      <p:to x="100000" y="100000"/>
                                    </p:animScale>
                                    <p:animScale>
                                      <p:cBhvr>
                                        <p:cTn id="36" dur="26">
                                          <p:stCondLst>
                                            <p:cond delay="1642"/>
                                          </p:stCondLst>
                                        </p:cTn>
                                        <p:tgtEl>
                                          <p:spTgt spid="2"/>
                                        </p:tgtEl>
                                      </p:cBhvr>
                                      <p:to x="100000" y="90000"/>
                                    </p:animScale>
                                    <p:animScale>
                                      <p:cBhvr>
                                        <p:cTn id="37" dur="166" decel="50000">
                                          <p:stCondLst>
                                            <p:cond delay="1668"/>
                                          </p:stCondLst>
                                        </p:cTn>
                                        <p:tgtEl>
                                          <p:spTgt spid="2"/>
                                        </p:tgtEl>
                                      </p:cBhvr>
                                      <p:to x="100000" y="100000"/>
                                    </p:animScale>
                                    <p:animScale>
                                      <p:cBhvr>
                                        <p:cTn id="38" dur="26">
                                          <p:stCondLst>
                                            <p:cond delay="1808"/>
                                          </p:stCondLst>
                                        </p:cTn>
                                        <p:tgtEl>
                                          <p:spTgt spid="2"/>
                                        </p:tgtEl>
                                      </p:cBhvr>
                                      <p:to x="100000" y="95000"/>
                                    </p:animScale>
                                    <p:animScale>
                                      <p:cBhvr>
                                        <p:cTn id="39" dur="166" decel="50000">
                                          <p:stCondLst>
                                            <p:cond delay="1834"/>
                                          </p:stCondLst>
                                        </p:cTn>
                                        <p:tgtEl>
                                          <p:spTgt spid="2"/>
                                        </p:tgtEl>
                                      </p:cBhvr>
                                      <p:to x="100000" y="100000"/>
                                    </p:animScale>
                                  </p:childTnLst>
                                </p:cTn>
                              </p:par>
                            </p:childTnLst>
                          </p:cTn>
                        </p:par>
                      </p:childTnLst>
                    </p:cTn>
                  </p:par>
                  <p:par>
                    <p:cTn id="40" fill="hold">
                      <p:stCondLst>
                        <p:cond delay="indefinite"/>
                      </p:stCondLst>
                      <p:childTnLst>
                        <p:par>
                          <p:cTn id="41" fill="hold">
                            <p:stCondLst>
                              <p:cond delay="0"/>
                            </p:stCondLst>
                            <p:childTnLst>
                              <p:par>
                                <p:cTn id="42" presetID="22" presetClass="exit" presetSubtype="4" fill="hold" nodeType="clickEffect">
                                  <p:stCondLst>
                                    <p:cond delay="0"/>
                                  </p:stCondLst>
                                  <p:childTnLst>
                                    <p:animEffect transition="out" filter="wipe(down)">
                                      <p:cBhvr>
                                        <p:cTn id="43" dur="500"/>
                                        <p:tgtEl>
                                          <p:spTgt spid="2"/>
                                        </p:tgtEl>
                                      </p:cBhvr>
                                    </p:animEffect>
                                    <p:set>
                                      <p:cBhvr>
                                        <p:cTn id="44" dur="1" fill="hold">
                                          <p:stCondLst>
                                            <p:cond delay="499"/>
                                          </p:stCondLst>
                                        </p:cTn>
                                        <p:tgtEl>
                                          <p:spTgt spid="2"/>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 calcmode="lin" valueType="num">
                                      <p:cBhvr additive="base">
                                        <p:cTn id="49" dur="500" fill="hold"/>
                                        <p:tgtEl>
                                          <p:spTgt spid="8"/>
                                        </p:tgtEl>
                                        <p:attrNameLst>
                                          <p:attrName>ppt_x</p:attrName>
                                        </p:attrNameLst>
                                      </p:cBhvr>
                                      <p:tavLst>
                                        <p:tav tm="0">
                                          <p:val>
                                            <p:strVal val="#ppt_x"/>
                                          </p:val>
                                        </p:tav>
                                        <p:tav tm="100000">
                                          <p:val>
                                            <p:strVal val="#ppt_x"/>
                                          </p:val>
                                        </p:tav>
                                      </p:tavLst>
                                    </p:anim>
                                    <p:anim calcmode="lin" valueType="num">
                                      <p:cBhvr additive="base">
                                        <p:cTn id="50" dur="500" fill="hold"/>
                                        <p:tgtEl>
                                          <p:spTgt spid="8"/>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30727"/>
                                        </p:tgtEl>
                                        <p:attrNameLst>
                                          <p:attrName>style.visibility</p:attrName>
                                        </p:attrNameLst>
                                      </p:cBhvr>
                                      <p:to>
                                        <p:strVal val="visible"/>
                                      </p:to>
                                    </p:set>
                                    <p:anim calcmode="lin" valueType="num">
                                      <p:cBhvr additive="base">
                                        <p:cTn id="53" dur="500" fill="hold"/>
                                        <p:tgtEl>
                                          <p:spTgt spid="30727"/>
                                        </p:tgtEl>
                                        <p:attrNameLst>
                                          <p:attrName>ppt_x</p:attrName>
                                        </p:attrNameLst>
                                      </p:cBhvr>
                                      <p:tavLst>
                                        <p:tav tm="0">
                                          <p:val>
                                            <p:strVal val="#ppt_x"/>
                                          </p:val>
                                        </p:tav>
                                        <p:tav tm="100000">
                                          <p:val>
                                            <p:strVal val="#ppt_x"/>
                                          </p:val>
                                        </p:tav>
                                      </p:tavLst>
                                    </p:anim>
                                    <p:anim calcmode="lin" valueType="num">
                                      <p:cBhvr additive="base">
                                        <p:cTn id="54" dur="500" fill="hold"/>
                                        <p:tgtEl>
                                          <p:spTgt spid="3072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30728"/>
                                        </p:tgtEl>
                                        <p:attrNameLst>
                                          <p:attrName>style.visibility</p:attrName>
                                        </p:attrNameLst>
                                      </p:cBhvr>
                                      <p:to>
                                        <p:strVal val="visible"/>
                                      </p:to>
                                    </p:set>
                                    <p:anim calcmode="lin" valueType="num">
                                      <p:cBhvr additive="base">
                                        <p:cTn id="57" dur="500" fill="hold"/>
                                        <p:tgtEl>
                                          <p:spTgt spid="30728"/>
                                        </p:tgtEl>
                                        <p:attrNameLst>
                                          <p:attrName>ppt_x</p:attrName>
                                        </p:attrNameLst>
                                      </p:cBhvr>
                                      <p:tavLst>
                                        <p:tav tm="0">
                                          <p:val>
                                            <p:strVal val="#ppt_x"/>
                                          </p:val>
                                        </p:tav>
                                        <p:tav tm="100000">
                                          <p:val>
                                            <p:strVal val="#ppt_x"/>
                                          </p:val>
                                        </p:tav>
                                      </p:tavLst>
                                    </p:anim>
                                    <p:anim calcmode="lin" valueType="num">
                                      <p:cBhvr additive="base">
                                        <p:cTn id="58" dur="500" fill="hold"/>
                                        <p:tgtEl>
                                          <p:spTgt spid="30728"/>
                                        </p:tgtEl>
                                        <p:attrNameLst>
                                          <p:attrName>ppt_y</p:attrName>
                                        </p:attrNameLst>
                                      </p:cBhvr>
                                      <p:tavLst>
                                        <p:tav tm="0">
                                          <p:val>
                                            <p:strVal val="1+#ppt_h/2"/>
                                          </p:val>
                                        </p:tav>
                                        <p:tav tm="100000">
                                          <p:val>
                                            <p:strVal val="#ppt_y"/>
                                          </p:val>
                                        </p:tav>
                                      </p:tavLst>
                                    </p:anim>
                                  </p:childTnLst>
                                </p:cTn>
                              </p:par>
                            </p:childTnLst>
                          </p:cTn>
                        </p:par>
                        <p:par>
                          <p:cTn id="59" fill="hold">
                            <p:stCondLst>
                              <p:cond delay="500"/>
                            </p:stCondLst>
                            <p:childTnLst>
                              <p:par>
                                <p:cTn id="60" presetID="26" presetClass="entr" presetSubtype="0" fill="hold" nodeType="after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wipe(down)">
                                      <p:cBhvr>
                                        <p:cTn id="62" dur="580">
                                          <p:stCondLst>
                                            <p:cond delay="0"/>
                                          </p:stCondLst>
                                        </p:cTn>
                                        <p:tgtEl>
                                          <p:spTgt spid="9"/>
                                        </p:tgtEl>
                                      </p:cBhvr>
                                    </p:animEffect>
                                    <p:anim calcmode="lin" valueType="num">
                                      <p:cBhvr>
                                        <p:cTn id="63"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64"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65"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66"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67"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68" dur="26">
                                          <p:stCondLst>
                                            <p:cond delay="650"/>
                                          </p:stCondLst>
                                        </p:cTn>
                                        <p:tgtEl>
                                          <p:spTgt spid="9"/>
                                        </p:tgtEl>
                                      </p:cBhvr>
                                      <p:to x="100000" y="60000"/>
                                    </p:animScale>
                                    <p:animScale>
                                      <p:cBhvr>
                                        <p:cTn id="69" dur="166" decel="50000">
                                          <p:stCondLst>
                                            <p:cond delay="676"/>
                                          </p:stCondLst>
                                        </p:cTn>
                                        <p:tgtEl>
                                          <p:spTgt spid="9"/>
                                        </p:tgtEl>
                                      </p:cBhvr>
                                      <p:to x="100000" y="100000"/>
                                    </p:animScale>
                                    <p:animScale>
                                      <p:cBhvr>
                                        <p:cTn id="70" dur="26">
                                          <p:stCondLst>
                                            <p:cond delay="1312"/>
                                          </p:stCondLst>
                                        </p:cTn>
                                        <p:tgtEl>
                                          <p:spTgt spid="9"/>
                                        </p:tgtEl>
                                      </p:cBhvr>
                                      <p:to x="100000" y="80000"/>
                                    </p:animScale>
                                    <p:animScale>
                                      <p:cBhvr>
                                        <p:cTn id="71" dur="166" decel="50000">
                                          <p:stCondLst>
                                            <p:cond delay="1338"/>
                                          </p:stCondLst>
                                        </p:cTn>
                                        <p:tgtEl>
                                          <p:spTgt spid="9"/>
                                        </p:tgtEl>
                                      </p:cBhvr>
                                      <p:to x="100000" y="100000"/>
                                    </p:animScale>
                                    <p:animScale>
                                      <p:cBhvr>
                                        <p:cTn id="72" dur="26">
                                          <p:stCondLst>
                                            <p:cond delay="1642"/>
                                          </p:stCondLst>
                                        </p:cTn>
                                        <p:tgtEl>
                                          <p:spTgt spid="9"/>
                                        </p:tgtEl>
                                      </p:cBhvr>
                                      <p:to x="100000" y="90000"/>
                                    </p:animScale>
                                    <p:animScale>
                                      <p:cBhvr>
                                        <p:cTn id="73" dur="166" decel="50000">
                                          <p:stCondLst>
                                            <p:cond delay="1668"/>
                                          </p:stCondLst>
                                        </p:cTn>
                                        <p:tgtEl>
                                          <p:spTgt spid="9"/>
                                        </p:tgtEl>
                                      </p:cBhvr>
                                      <p:to x="100000" y="100000"/>
                                    </p:animScale>
                                    <p:animScale>
                                      <p:cBhvr>
                                        <p:cTn id="74" dur="26">
                                          <p:stCondLst>
                                            <p:cond delay="1808"/>
                                          </p:stCondLst>
                                        </p:cTn>
                                        <p:tgtEl>
                                          <p:spTgt spid="9"/>
                                        </p:tgtEl>
                                      </p:cBhvr>
                                      <p:to x="100000" y="95000"/>
                                    </p:animScale>
                                    <p:animScale>
                                      <p:cBhvr>
                                        <p:cTn id="75" dur="166" decel="50000">
                                          <p:stCondLst>
                                            <p:cond delay="1834"/>
                                          </p:stCondLst>
                                        </p:cTn>
                                        <p:tgtEl>
                                          <p:spTgt spid="9"/>
                                        </p:tgtEl>
                                      </p:cBhvr>
                                      <p:to x="100000" y="100000"/>
                                    </p:animScale>
                                  </p:childTnLst>
                                </p:cTn>
                              </p:par>
                            </p:childTnLst>
                          </p:cTn>
                        </p:par>
                      </p:childTnLst>
                    </p:cTn>
                  </p:par>
                  <p:par>
                    <p:cTn id="76" fill="hold">
                      <p:stCondLst>
                        <p:cond delay="indefinite"/>
                      </p:stCondLst>
                      <p:childTnLst>
                        <p:par>
                          <p:cTn id="77" fill="hold">
                            <p:stCondLst>
                              <p:cond delay="0"/>
                            </p:stCondLst>
                            <p:childTnLst>
                              <p:par>
                                <p:cTn id="78" presetID="22" presetClass="exit" presetSubtype="4" fill="hold" nodeType="clickEffect">
                                  <p:stCondLst>
                                    <p:cond delay="0"/>
                                  </p:stCondLst>
                                  <p:childTnLst>
                                    <p:animEffect transition="out" filter="wipe(down)">
                                      <p:cBhvr>
                                        <p:cTn id="79" dur="500"/>
                                        <p:tgtEl>
                                          <p:spTgt spid="9"/>
                                        </p:tgtEl>
                                      </p:cBhvr>
                                    </p:animEffect>
                                    <p:set>
                                      <p:cBhvr>
                                        <p:cTn id="80" dur="1" fill="hold">
                                          <p:stCondLst>
                                            <p:cond delay="499"/>
                                          </p:stCondLst>
                                        </p:cTn>
                                        <p:tgtEl>
                                          <p:spTgt spid="9"/>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30730"/>
                                        </p:tgtEl>
                                        <p:attrNameLst>
                                          <p:attrName>style.visibility</p:attrName>
                                        </p:attrNameLst>
                                      </p:cBhvr>
                                      <p:to>
                                        <p:strVal val="visible"/>
                                      </p:to>
                                    </p:set>
                                    <p:anim calcmode="lin" valueType="num">
                                      <p:cBhvr additive="base">
                                        <p:cTn id="85" dur="500" fill="hold"/>
                                        <p:tgtEl>
                                          <p:spTgt spid="30730"/>
                                        </p:tgtEl>
                                        <p:attrNameLst>
                                          <p:attrName>ppt_x</p:attrName>
                                        </p:attrNameLst>
                                      </p:cBhvr>
                                      <p:tavLst>
                                        <p:tav tm="0">
                                          <p:val>
                                            <p:strVal val="#ppt_x"/>
                                          </p:val>
                                        </p:tav>
                                        <p:tav tm="100000">
                                          <p:val>
                                            <p:strVal val="#ppt_x"/>
                                          </p:val>
                                        </p:tav>
                                      </p:tavLst>
                                    </p:anim>
                                    <p:anim calcmode="lin" valueType="num">
                                      <p:cBhvr additive="base">
                                        <p:cTn id="86" dur="500" fill="hold"/>
                                        <p:tgtEl>
                                          <p:spTgt spid="30730"/>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30729"/>
                                        </p:tgtEl>
                                        <p:attrNameLst>
                                          <p:attrName>style.visibility</p:attrName>
                                        </p:attrNameLst>
                                      </p:cBhvr>
                                      <p:to>
                                        <p:strVal val="visible"/>
                                      </p:to>
                                    </p:set>
                                    <p:anim calcmode="lin" valueType="num">
                                      <p:cBhvr additive="base">
                                        <p:cTn id="89" dur="500" fill="hold"/>
                                        <p:tgtEl>
                                          <p:spTgt spid="30729"/>
                                        </p:tgtEl>
                                        <p:attrNameLst>
                                          <p:attrName>ppt_x</p:attrName>
                                        </p:attrNameLst>
                                      </p:cBhvr>
                                      <p:tavLst>
                                        <p:tav tm="0">
                                          <p:val>
                                            <p:strVal val="#ppt_x"/>
                                          </p:val>
                                        </p:tav>
                                        <p:tav tm="100000">
                                          <p:val>
                                            <p:strVal val="#ppt_x"/>
                                          </p:val>
                                        </p:tav>
                                      </p:tavLst>
                                    </p:anim>
                                    <p:anim calcmode="lin" valueType="num">
                                      <p:cBhvr additive="base">
                                        <p:cTn id="90" dur="500" fill="hold"/>
                                        <p:tgtEl>
                                          <p:spTgt spid="30729"/>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4"/>
                                        </p:tgtEl>
                                        <p:attrNameLst>
                                          <p:attrName>style.visibility</p:attrName>
                                        </p:attrNameLst>
                                      </p:cBhvr>
                                      <p:to>
                                        <p:strVal val="visible"/>
                                      </p:to>
                                    </p:set>
                                    <p:anim calcmode="lin" valueType="num">
                                      <p:cBhvr additive="base">
                                        <p:cTn id="95" dur="500" fill="hold"/>
                                        <p:tgtEl>
                                          <p:spTgt spid="4"/>
                                        </p:tgtEl>
                                        <p:attrNameLst>
                                          <p:attrName>ppt_x</p:attrName>
                                        </p:attrNameLst>
                                      </p:cBhvr>
                                      <p:tavLst>
                                        <p:tav tm="0">
                                          <p:val>
                                            <p:strVal val="#ppt_x"/>
                                          </p:val>
                                        </p:tav>
                                        <p:tav tm="100000">
                                          <p:val>
                                            <p:strVal val="#ppt_x"/>
                                          </p:val>
                                        </p:tav>
                                      </p:tavLst>
                                    </p:anim>
                                    <p:anim calcmode="lin" valueType="num">
                                      <p:cBhvr additive="base">
                                        <p:cTn id="9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6" grpId="1" animBg="1"/>
      <p:bldP spid="7" grpId="0" bldLvl="0" animBg="1"/>
      <p:bldP spid="30726" grpId="0"/>
      <p:bldP spid="7" grpId="1" animBg="1"/>
      <p:bldP spid="30726" grpId="1"/>
      <p:bldP spid="8" grpId="0" bldLvl="0" animBg="1"/>
      <p:bldP spid="30728" grpId="0"/>
      <p:bldP spid="8" grpId="1" animBg="1"/>
      <p:bldP spid="30728" grpId="1"/>
      <p:bldP spid="30729" grpId="0"/>
      <p:bldP spid="30729"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8864600" y="6591300"/>
            <a:ext cx="203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r"/>
            <a:fld id="{1B2B190D-D4C0-4276-A301-6E22BCDEA36D}" type="slidenum">
              <a:rPr lang="en-US" altLang="zh-CN" sz="800">
                <a:solidFill>
                  <a:srgbClr val="FFFFFF"/>
                </a:solidFill>
                <a:ea typeface="宋体" panose="02010600030101010101" pitchFamily="2" charset="-122"/>
                <a:sym typeface="Arial" panose="020B0604020202020204" pitchFamily="34" charset="0"/>
              </a:rPr>
            </a:fld>
            <a:endParaRPr lang="en-US" altLang="zh-CN" sz="800">
              <a:solidFill>
                <a:srgbClr val="FFFFFF"/>
              </a:solidFill>
              <a:ea typeface="宋体" panose="02010600030101010101" pitchFamily="2" charset="-122"/>
              <a:sym typeface="Arial" panose="020B0604020202020204" pitchFamily="34" charset="0"/>
            </a:endParaRPr>
          </a:p>
        </p:txBody>
      </p:sp>
      <p:sp>
        <p:nvSpPr>
          <p:cNvPr id="6147" name="Rectangle 3"/>
          <p:cNvSpPr>
            <a:spLocks noGrp="1" noChangeArrowheads="1"/>
          </p:cNvSpPr>
          <p:nvPr>
            <p:ph type="title"/>
          </p:nvPr>
        </p:nvSpPr>
        <p:spPr>
          <a:xfrm>
            <a:off x="779780" y="207010"/>
            <a:ext cx="6534150" cy="638175"/>
          </a:xfrm>
        </p:spPr>
        <p:txBody>
          <a:bodyPr/>
          <a:lstStyle/>
          <a:p>
            <a:pPr algn="l">
              <a:defRPr/>
            </a:pPr>
            <a:r>
              <a:rPr lang="en-US" altLang="zh-CN" kern="1200" dirty="0">
                <a:latin typeface="Arial Unicode MS" panose="020B0604020202020204" pitchFamily="34" charset="-122"/>
                <a:ea typeface="Arial Unicode MS" panose="020B0604020202020204" pitchFamily="34" charset="-122"/>
                <a:cs typeface="Arial Unicode MS" panose="020B0604020202020204" pitchFamily="34" charset="-122"/>
              </a:rPr>
              <a:t>PQDT</a:t>
            </a:r>
            <a:r>
              <a:rPr lang="zh-CN" altLang="en-US" kern="1200" dirty="0">
                <a:latin typeface="Arial Unicode MS" panose="020B0604020202020204" pitchFamily="34" charset="-122"/>
                <a:ea typeface="Arial Unicode MS" panose="020B0604020202020204" pitchFamily="34" charset="-122"/>
                <a:cs typeface="Arial Unicode MS" panose="020B0604020202020204" pitchFamily="34" charset="-122"/>
              </a:rPr>
              <a:t>悠久的历史</a:t>
            </a:r>
            <a:endParaRPr lang="zh-CN" altLang="en-US" kern="1200"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6148" name="AutoShape 4"/>
          <p:cNvSpPr/>
          <p:nvPr/>
        </p:nvSpPr>
        <p:spPr bwMode="auto">
          <a:xfrm>
            <a:off x="427038" y="3284538"/>
            <a:ext cx="8216900" cy="858837"/>
          </a:xfrm>
          <a:prstGeom prst="rightArrow">
            <a:avLst>
              <a:gd name="adj1" fmla="val 50000"/>
              <a:gd name="adj2" fmla="val 49919"/>
            </a:avLst>
          </a:prstGeom>
          <a:solidFill>
            <a:schemeClr val="accent1">
              <a:alpha val="85881"/>
            </a:schemeClr>
          </a:solidFill>
          <a:ln w="25400">
            <a:solidFill>
              <a:srgbClr val="CC092F"/>
            </a:solidFill>
            <a:miter lim="800000"/>
          </a:ln>
        </p:spPr>
        <p:txBody>
          <a:bodyPr lIns="0" tIns="0" rIns="0" bIns="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zh-CN" altLang="zh-CN">
              <a:ea typeface="宋体" panose="02010600030101010101" pitchFamily="2" charset="-122"/>
            </a:endParaRPr>
          </a:p>
        </p:txBody>
      </p:sp>
      <p:sp>
        <p:nvSpPr>
          <p:cNvPr id="6149" name="AutoShape 12"/>
          <p:cNvSpPr/>
          <p:nvPr/>
        </p:nvSpPr>
        <p:spPr bwMode="auto">
          <a:xfrm>
            <a:off x="779463" y="3571875"/>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0" name="AutoShape 13"/>
          <p:cNvSpPr/>
          <p:nvPr/>
        </p:nvSpPr>
        <p:spPr bwMode="auto">
          <a:xfrm>
            <a:off x="1541463" y="3571875"/>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1" name="AutoShape 14"/>
          <p:cNvSpPr/>
          <p:nvPr/>
        </p:nvSpPr>
        <p:spPr bwMode="auto">
          <a:xfrm>
            <a:off x="3294063" y="3571875"/>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2" name="AutoShape 15"/>
          <p:cNvSpPr/>
          <p:nvPr/>
        </p:nvSpPr>
        <p:spPr bwMode="auto">
          <a:xfrm>
            <a:off x="4343400" y="3571875"/>
            <a:ext cx="285750"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3" name="AutoShape 16"/>
          <p:cNvSpPr/>
          <p:nvPr/>
        </p:nvSpPr>
        <p:spPr bwMode="auto">
          <a:xfrm>
            <a:off x="5656263" y="3581400"/>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4" name="AutoShape 17"/>
          <p:cNvSpPr/>
          <p:nvPr/>
        </p:nvSpPr>
        <p:spPr bwMode="auto">
          <a:xfrm>
            <a:off x="6951663" y="3571875"/>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6155" name="AutoShape 18"/>
          <p:cNvSpPr/>
          <p:nvPr/>
        </p:nvSpPr>
        <p:spPr bwMode="auto">
          <a:xfrm>
            <a:off x="7942263" y="3571875"/>
            <a:ext cx="287337" cy="285750"/>
          </a:xfrm>
          <a:custGeom>
            <a:avLst/>
            <a:gdLst>
              <a:gd name="T0" fmla="*/ 0 w 21600"/>
              <a:gd name="T1" fmla="*/ 2147483646 h 21600"/>
              <a:gd name="T2" fmla="*/ 2147483646 w 21600"/>
              <a:gd name="T3" fmla="*/ 0 h 21600"/>
              <a:gd name="T4" fmla="*/ 2147483646 w 21600"/>
              <a:gd name="T5" fmla="*/ 2147483646 h 21600"/>
              <a:gd name="T6" fmla="*/ 2147483646 w 21600"/>
              <a:gd name="T7" fmla="*/ 2147483646 h 21600"/>
              <a:gd name="T8" fmla="*/ 0 w 21600"/>
              <a:gd name="T9" fmla="*/ 2147483646 h 21600"/>
              <a:gd name="T10" fmla="*/ 0 w 21600"/>
              <a:gd name="T11" fmla="*/ 2147483646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0" y="10800"/>
                </a:moveTo>
              </a:path>
            </a:pathLst>
          </a:custGeom>
          <a:solidFill>
            <a:srgbClr val="404040"/>
          </a:solidFill>
          <a:ln w="25400">
            <a:solidFill>
              <a:srgbClr val="940622"/>
            </a:solidFill>
            <a:miter lim="800000"/>
          </a:ln>
        </p:spPr>
        <p:txBody>
          <a:bodyPr lIns="0" tIns="0" rIns="0" bIns="0"/>
          <a:lstStyle/>
          <a:p>
            <a:endParaRPr lang="zh-CN" altLang="en-US"/>
          </a:p>
        </p:txBody>
      </p:sp>
      <p:sp>
        <p:nvSpPr>
          <p:cNvPr id="10245" name="Rectangle 7"/>
          <p:cNvSpPr/>
          <p:nvPr/>
        </p:nvSpPr>
        <p:spPr bwMode="auto">
          <a:xfrm>
            <a:off x="112713" y="4071938"/>
            <a:ext cx="1695450" cy="149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r>
              <a:rPr lang="en-US" altLang="zh-CN" sz="2000" dirty="0">
                <a:solidFill>
                  <a:srgbClr val="CC092F"/>
                </a:solidFill>
                <a:latin typeface="微软雅黑" panose="020B0503020204020204" charset="-122"/>
                <a:ea typeface="微软雅黑" panose="020B0503020204020204" charset="-122"/>
                <a:cs typeface="Lucida Grande"/>
                <a:sym typeface="Lucida Grande"/>
              </a:rPr>
              <a:t>1938</a:t>
            </a:r>
            <a:endParaRPr lang="en-US" altLang="zh-CN" dirty="0">
              <a:latin typeface="微软雅黑" panose="020B0503020204020204" charset="-122"/>
              <a:ea typeface="微软雅黑" panose="020B0503020204020204" charset="-122"/>
              <a:sym typeface="Arial" panose="020B0604020202020204" pitchFamily="34" charset="0"/>
            </a:endParaRPr>
          </a:p>
          <a:p>
            <a:r>
              <a:rPr lang="en-US" altLang="zh-CN" sz="2000" dirty="0">
                <a:ea typeface="宋体" panose="02010600030101010101" pitchFamily="2" charset="-122"/>
                <a:sym typeface="Arial" panose="020B0604020202020204" pitchFamily="34" charset="0"/>
              </a:rPr>
              <a:t>University Microfilms, Inc </a:t>
            </a:r>
            <a:r>
              <a:rPr lang="zh-CN" altLang="en-US" sz="2000" b="1" dirty="0">
                <a:latin typeface="华文楷体" panose="02010600040101010101" pitchFamily="2" charset="-122"/>
                <a:ea typeface="华文楷体" panose="02010600040101010101" pitchFamily="2" charset="-122"/>
                <a:sym typeface="Arial" panose="020B0604020202020204" pitchFamily="34" charset="0"/>
              </a:rPr>
              <a:t>成立</a:t>
            </a:r>
            <a:endParaRPr lang="zh-CN" altLang="en-US" sz="2000" b="1" dirty="0">
              <a:latin typeface="华文楷体" panose="02010600040101010101" pitchFamily="2" charset="-122"/>
              <a:ea typeface="华文楷体" panose="02010600040101010101" pitchFamily="2" charset="-122"/>
              <a:sym typeface="Arial" panose="020B0604020202020204" pitchFamily="34" charset="0"/>
            </a:endParaRPr>
          </a:p>
        </p:txBody>
      </p:sp>
      <p:pic>
        <p:nvPicPr>
          <p:cNvPr id="10254" name="Picture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348740" y="980440"/>
            <a:ext cx="1637938" cy="1149096"/>
          </a:xfrm>
          <a:prstGeom prst="rect">
            <a:avLst/>
          </a:prstGeom>
          <a:noFill/>
          <a:ln>
            <a:noFill/>
          </a:ln>
          <a:effectLst>
            <a:outerShdw dist="38099" dir="2700000" algn="ctr" rotWithShape="0">
              <a:schemeClr val="bg2">
                <a:alpha val="39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18" name="Rectangle 17"/>
          <p:cNvSpPr>
            <a:spLocks noChangeArrowheads="1"/>
          </p:cNvSpPr>
          <p:nvPr/>
        </p:nvSpPr>
        <p:spPr bwMode="auto">
          <a:xfrm>
            <a:off x="671513" y="2365375"/>
            <a:ext cx="23145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22300">
              <a:defRPr>
                <a:solidFill>
                  <a:schemeClr val="tx1"/>
                </a:solidFill>
                <a:latin typeface="Times New Roman" panose="02020603050405020304" pitchFamily="18" charset="0"/>
              </a:defRPr>
            </a:lvl1pPr>
            <a:lvl2pPr marL="742950" indent="-285750" defTabSz="622300">
              <a:defRPr>
                <a:solidFill>
                  <a:schemeClr val="tx1"/>
                </a:solidFill>
                <a:latin typeface="Times New Roman" panose="02020603050405020304" pitchFamily="18" charset="0"/>
              </a:defRPr>
            </a:lvl2pPr>
            <a:lvl3pPr marL="1143000" indent="-228600" defTabSz="622300">
              <a:defRPr>
                <a:solidFill>
                  <a:schemeClr val="tx1"/>
                </a:solidFill>
                <a:latin typeface="Times New Roman" panose="02020603050405020304" pitchFamily="18" charset="0"/>
              </a:defRPr>
            </a:lvl3pPr>
            <a:lvl4pPr marL="1600200" indent="-228600" defTabSz="622300">
              <a:defRPr>
                <a:solidFill>
                  <a:schemeClr val="tx1"/>
                </a:solidFill>
                <a:latin typeface="Times New Roman" panose="02020603050405020304" pitchFamily="18" charset="0"/>
              </a:defRPr>
            </a:lvl4pPr>
            <a:lvl5pPr marL="2057400" indent="-228600" defTabSz="622300">
              <a:defRPr>
                <a:solidFill>
                  <a:schemeClr val="tx1"/>
                </a:solidFill>
                <a:latin typeface="Times New Roman" panose="02020603050405020304" pitchFamily="18" charset="0"/>
              </a:defRPr>
            </a:lvl5pPr>
            <a:lvl6pPr marL="2514600" indent="-228600" defTabSz="6223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6223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6223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622300" eaLnBrk="0" fontAlgn="base" hangingPunct="0">
              <a:spcBef>
                <a:spcPct val="0"/>
              </a:spcBef>
              <a:spcAft>
                <a:spcPct val="0"/>
              </a:spcAft>
              <a:defRPr>
                <a:solidFill>
                  <a:schemeClr val="tx1"/>
                </a:solidFill>
                <a:latin typeface="Times New Roman" panose="02020603050405020304" pitchFamily="18" charset="0"/>
              </a:defRPr>
            </a:lvl9pPr>
          </a:lstStyle>
          <a:p>
            <a:pPr algn="ctr">
              <a:lnSpc>
                <a:spcPct val="90000"/>
              </a:lnSpc>
            </a:pPr>
            <a:r>
              <a:rPr lang="en-US" altLang="zh-CN" sz="2000" dirty="0">
                <a:solidFill>
                  <a:srgbClr val="C00000"/>
                </a:solidFill>
                <a:latin typeface="微软雅黑" panose="020B0503020204020204" charset="-122"/>
                <a:ea typeface="微软雅黑" panose="020B0503020204020204" charset="-122"/>
              </a:rPr>
              <a:t>1939 </a:t>
            </a:r>
            <a:endParaRPr lang="en-US" altLang="zh-CN" sz="2000" dirty="0">
              <a:solidFill>
                <a:srgbClr val="C00000"/>
              </a:solidFill>
              <a:latin typeface="微软雅黑" panose="020B0503020204020204" charset="-122"/>
              <a:ea typeface="微软雅黑" panose="020B0503020204020204" charset="-122"/>
            </a:endParaRPr>
          </a:p>
          <a:p>
            <a:pPr>
              <a:lnSpc>
                <a:spcPct val="90000"/>
              </a:lnSpc>
            </a:pPr>
            <a:r>
              <a:rPr lang="zh-CN" altLang="en-US" sz="2000" dirty="0">
                <a:latin typeface="华文楷体" panose="02010600040101010101" pitchFamily="2" charset="-122"/>
                <a:ea typeface="华文楷体" panose="02010600040101010101" pitchFamily="2" charset="-122"/>
              </a:rPr>
              <a:t>提供缩微和印刷版论文</a:t>
            </a:r>
            <a:endParaRPr lang="zh-CN" altLang="en-US" sz="2000" dirty="0">
              <a:latin typeface="华文楷体" panose="02010600040101010101" pitchFamily="2" charset="-122"/>
              <a:ea typeface="华文楷体" panose="02010600040101010101" pitchFamily="2" charset="-122"/>
            </a:endParaRPr>
          </a:p>
        </p:txBody>
      </p:sp>
      <p:sp>
        <p:nvSpPr>
          <p:cNvPr id="17" name="Rectangle 6"/>
          <p:cNvSpPr/>
          <p:nvPr/>
        </p:nvSpPr>
        <p:spPr bwMode="auto">
          <a:xfrm>
            <a:off x="2433638" y="3997325"/>
            <a:ext cx="20066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r>
              <a:rPr lang="en-US" altLang="zh-CN" sz="2000" dirty="0">
                <a:solidFill>
                  <a:srgbClr val="CC092F"/>
                </a:solidFill>
                <a:latin typeface="微软雅黑" panose="020B0503020204020204" charset="-122"/>
                <a:ea typeface="微软雅黑" panose="020B0503020204020204" charset="-122"/>
                <a:cs typeface="Lucida Grande"/>
                <a:sym typeface="Lucida Grande"/>
              </a:rPr>
              <a:t>1951 </a:t>
            </a:r>
            <a:endParaRPr lang="en-US" altLang="zh-CN" dirty="0">
              <a:latin typeface="微软雅黑" panose="020B0503020204020204" charset="-122"/>
              <a:ea typeface="微软雅黑" panose="020B0503020204020204" charset="-122"/>
              <a:sym typeface="Arial" panose="020B0604020202020204" pitchFamily="34" charset="0"/>
            </a:endParaRPr>
          </a:p>
          <a:p>
            <a:r>
              <a:rPr lang="zh-CN" altLang="en-US" sz="2000" dirty="0">
                <a:latin typeface="华文楷体" panose="02010600040101010101" pitchFamily="2" charset="-122"/>
                <a:ea typeface="华文楷体" panose="02010600040101010101" pitchFamily="2" charset="-122"/>
              </a:rPr>
              <a:t>美国研究图书馆协会认定 </a:t>
            </a:r>
            <a:r>
              <a:rPr lang="en-US" altLang="zh-CN" sz="2000" dirty="0">
                <a:latin typeface="华文楷体" panose="02010600040101010101" pitchFamily="2" charset="-122"/>
                <a:ea typeface="华文楷体" panose="02010600040101010101" pitchFamily="2" charset="-122"/>
              </a:rPr>
              <a:t>UMI </a:t>
            </a:r>
            <a:r>
              <a:rPr lang="zh-CN" altLang="en-US" sz="2000" dirty="0">
                <a:latin typeface="华文楷体" panose="02010600040101010101" pitchFamily="2" charset="-122"/>
                <a:ea typeface="华文楷体" panose="02010600040101010101" pitchFamily="2" charset="-122"/>
              </a:rPr>
              <a:t>作为全美论文记录的出版商</a:t>
            </a:r>
            <a:endParaRPr lang="en-GB" altLang="zh-CN" sz="2000" dirty="0">
              <a:latin typeface="华文楷体" panose="02010600040101010101" pitchFamily="2" charset="-122"/>
              <a:ea typeface="华文楷体" panose="02010600040101010101" pitchFamily="2" charset="-122"/>
            </a:endParaRPr>
          </a:p>
        </p:txBody>
      </p:sp>
      <p:pic>
        <p:nvPicPr>
          <p:cNvPr id="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315" y="5876925"/>
            <a:ext cx="4335997" cy="633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8"/>
          <p:cNvSpPr/>
          <p:nvPr/>
        </p:nvSpPr>
        <p:spPr bwMode="auto">
          <a:xfrm>
            <a:off x="3660775" y="1828800"/>
            <a:ext cx="1611313"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lnSpc>
                <a:spcPct val="90000"/>
              </a:lnSpc>
              <a:spcBef>
                <a:spcPts val="840"/>
              </a:spcBef>
            </a:pPr>
            <a:r>
              <a:rPr lang="en-US" altLang="zh-CN" sz="2000">
                <a:solidFill>
                  <a:srgbClr val="CC092F"/>
                </a:solidFill>
                <a:latin typeface="Lucida Grande"/>
                <a:ea typeface="Lucida Grande"/>
                <a:cs typeface="Lucida Grande"/>
                <a:sym typeface="Lucida Grande"/>
              </a:rPr>
              <a:t>1987</a:t>
            </a:r>
            <a:endParaRPr lang="en-US" altLang="zh-CN" sz="2000">
              <a:solidFill>
                <a:srgbClr val="CC092F"/>
              </a:solidFill>
              <a:latin typeface="Lucida Grande"/>
              <a:ea typeface="Lucida Grande"/>
              <a:cs typeface="Lucida Grande"/>
              <a:sym typeface="Lucida Grande"/>
            </a:endParaRPr>
          </a:p>
          <a:p>
            <a:pPr>
              <a:lnSpc>
                <a:spcPct val="90000"/>
              </a:lnSpc>
              <a:spcBef>
                <a:spcPts val="840"/>
              </a:spcBef>
            </a:pPr>
            <a:r>
              <a:rPr lang="zh-CN" altLang="en-US" sz="2000">
                <a:latin typeface="华文楷体" panose="02010600040101010101" pitchFamily="2" charset="-122"/>
                <a:ea typeface="华文楷体" panose="02010600040101010101" pitchFamily="2" charset="-122"/>
                <a:sym typeface="Lucida Grande"/>
              </a:rPr>
              <a:t>第一次提供光盘形式的文摘</a:t>
            </a:r>
            <a:r>
              <a:rPr lang="en-US" altLang="zh-CN" sz="2000">
                <a:latin typeface="华文楷体" panose="02010600040101010101" pitchFamily="2" charset="-122"/>
                <a:ea typeface="华文楷体" panose="02010600040101010101" pitchFamily="2" charset="-122"/>
                <a:sym typeface="Lucida Grande"/>
              </a:rPr>
              <a:t>/</a:t>
            </a:r>
            <a:r>
              <a:rPr lang="zh-CN" altLang="en-US" sz="2000">
                <a:latin typeface="华文楷体" panose="02010600040101010101" pitchFamily="2" charset="-122"/>
                <a:ea typeface="华文楷体" panose="02010600040101010101" pitchFamily="2" charset="-122"/>
                <a:sym typeface="Lucida Grande"/>
              </a:rPr>
              <a:t>索引</a:t>
            </a:r>
            <a:endParaRPr lang="zh-CN" altLang="en-US">
              <a:latin typeface="华文楷体" panose="02010600040101010101" pitchFamily="2" charset="-122"/>
              <a:ea typeface="华文楷体" panose="02010600040101010101" pitchFamily="2" charset="-122"/>
              <a:sym typeface="Arial" panose="020B0604020202020204" pitchFamily="34" charset="0"/>
            </a:endParaRPr>
          </a:p>
        </p:txBody>
      </p:sp>
      <p:pic>
        <p:nvPicPr>
          <p:cNvPr id="2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1638" y="720408"/>
            <a:ext cx="114776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8"/>
          <p:cNvSpPr>
            <a:spLocks noChangeArrowheads="1"/>
          </p:cNvSpPr>
          <p:nvPr/>
        </p:nvSpPr>
        <p:spPr bwMode="auto">
          <a:xfrm>
            <a:off x="5268913" y="1992313"/>
            <a:ext cx="25908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r>
              <a:rPr lang="en-US" altLang="zh-CN" sz="2000">
                <a:solidFill>
                  <a:srgbClr val="C00000"/>
                </a:solidFill>
                <a:latin typeface="Calibri" panose="020F0502020204030204" pitchFamily="34" charset="0"/>
                <a:ea typeface="宋体" panose="02010600030101010101" pitchFamily="2" charset="-122"/>
              </a:rPr>
              <a:t>1998</a:t>
            </a:r>
            <a:endParaRPr lang="en-US" altLang="zh-CN" sz="2000">
              <a:solidFill>
                <a:srgbClr val="C00000"/>
              </a:solidFill>
              <a:latin typeface="Calibri" panose="020F0502020204030204" pitchFamily="34" charset="0"/>
              <a:ea typeface="宋体" panose="02010600030101010101" pitchFamily="2" charset="-122"/>
            </a:endParaRPr>
          </a:p>
          <a:p>
            <a:pPr algn="ctr"/>
            <a:r>
              <a:rPr lang="zh-CN" altLang="en-US" sz="2000">
                <a:latin typeface="华文楷体" panose="02010600040101010101" pitchFamily="2" charset="-122"/>
                <a:ea typeface="华文楷体" panose="02010600040101010101" pitchFamily="2" charset="-122"/>
              </a:rPr>
              <a:t>美国国会图书馆认定</a:t>
            </a:r>
            <a:r>
              <a:rPr lang="en-US" altLang="zh-CN" sz="2000">
                <a:latin typeface="华文楷体" panose="02010600040101010101" pitchFamily="2" charset="-122"/>
                <a:ea typeface="华文楷体" panose="02010600040101010101" pitchFamily="2" charset="-122"/>
              </a:rPr>
              <a:t>UMI </a:t>
            </a:r>
            <a:r>
              <a:rPr lang="zh-CN" altLang="en-US" sz="2000">
                <a:latin typeface="华文楷体" panose="02010600040101010101" pitchFamily="2" charset="-122"/>
                <a:ea typeface="华文楷体" panose="02010600040101010101" pitchFamily="2" charset="-122"/>
              </a:rPr>
              <a:t>为数字论文转储</a:t>
            </a:r>
            <a:endParaRPr lang="zh-CN" altLang="en-US" sz="2000">
              <a:latin typeface="华文楷体" panose="02010600040101010101" pitchFamily="2" charset="-122"/>
              <a:ea typeface="华文楷体" panose="02010600040101010101" pitchFamily="2" charset="-122"/>
            </a:endParaRPr>
          </a:p>
        </p:txBody>
      </p:sp>
      <p:pic>
        <p:nvPicPr>
          <p:cNvPr id="2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3473" y="637858"/>
            <a:ext cx="2670937" cy="107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4"/>
          <p:cNvSpPr>
            <a:spLocks noChangeArrowheads="1"/>
          </p:cNvSpPr>
          <p:nvPr/>
        </p:nvSpPr>
        <p:spPr bwMode="auto">
          <a:xfrm>
            <a:off x="5621338" y="4056063"/>
            <a:ext cx="17875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r>
              <a:rPr lang="en-US" altLang="zh-CN" sz="2000" dirty="0">
                <a:solidFill>
                  <a:srgbClr val="C00000"/>
                </a:solidFill>
                <a:latin typeface="微软雅黑" panose="020B0503020204020204" charset="-122"/>
                <a:ea typeface="微软雅黑" panose="020B0503020204020204" charset="-122"/>
              </a:rPr>
              <a:t>2007</a:t>
            </a:r>
            <a:r>
              <a:rPr lang="en-US" altLang="zh-CN" sz="2000" dirty="0">
                <a:latin typeface="微软雅黑" panose="020B0503020204020204" charset="-122"/>
                <a:ea typeface="微软雅黑" panose="020B0503020204020204" charset="-122"/>
              </a:rPr>
              <a:t> </a:t>
            </a:r>
            <a:endParaRPr lang="en-US" altLang="zh-CN" sz="2000" dirty="0">
              <a:latin typeface="微软雅黑" panose="020B0503020204020204" charset="-122"/>
              <a:ea typeface="微软雅黑" panose="020B0503020204020204" charset="-122"/>
            </a:endParaRPr>
          </a:p>
          <a:p>
            <a:r>
              <a:rPr lang="zh-CN" altLang="en-US" sz="2000" dirty="0">
                <a:latin typeface="华文楷体" panose="02010600040101010101" pitchFamily="2" charset="-122"/>
                <a:ea typeface="华文楷体" panose="02010600040101010101" pitchFamily="2" charset="-122"/>
              </a:rPr>
              <a:t>整合到</a:t>
            </a:r>
            <a:r>
              <a:rPr lang="en-US" altLang="zh-CN" sz="2000" dirty="0">
                <a:latin typeface="华文楷体" panose="02010600040101010101" pitchFamily="2" charset="-122"/>
                <a:ea typeface="华文楷体" panose="02010600040101010101" pitchFamily="2" charset="-122"/>
              </a:rPr>
              <a:t>ProQuest </a:t>
            </a:r>
            <a:r>
              <a:rPr lang="zh-CN" altLang="en-US" sz="2000" dirty="0">
                <a:latin typeface="华文楷体" panose="02010600040101010101" pitchFamily="2" charset="-122"/>
                <a:ea typeface="华文楷体" panose="02010600040101010101" pitchFamily="2" charset="-122"/>
              </a:rPr>
              <a:t>平台更名</a:t>
            </a:r>
            <a:r>
              <a:rPr lang="en-US" altLang="zh-CN" sz="2000" dirty="0">
                <a:latin typeface="华文楷体" panose="02010600040101010101" pitchFamily="2" charset="-122"/>
                <a:ea typeface="华文楷体" panose="02010600040101010101" pitchFamily="2" charset="-122"/>
              </a:rPr>
              <a:t>PQDT</a:t>
            </a:r>
            <a:endParaRPr lang="en-US" altLang="zh-CN" sz="2000" dirty="0">
              <a:latin typeface="华文楷体" panose="02010600040101010101" pitchFamily="2" charset="-122"/>
              <a:ea typeface="华文楷体" panose="02010600040101010101" pitchFamily="2" charset="-122"/>
            </a:endParaRPr>
          </a:p>
        </p:txBody>
      </p:sp>
      <p:sp>
        <p:nvSpPr>
          <p:cNvPr id="26" name="Rectangle 6"/>
          <p:cNvSpPr/>
          <p:nvPr/>
        </p:nvSpPr>
        <p:spPr bwMode="auto">
          <a:xfrm>
            <a:off x="7391401" y="4155926"/>
            <a:ext cx="1639886"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0" tIns="38100" rIns="38100" bIns="3810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r>
              <a:rPr lang="en-US" altLang="zh-CN" sz="2000" dirty="0">
                <a:solidFill>
                  <a:srgbClr val="C00000"/>
                </a:solidFill>
                <a:latin typeface="微软雅黑" panose="020B0503020204020204" charset="-122"/>
                <a:ea typeface="微软雅黑" panose="020B0503020204020204" charset="-122"/>
                <a:cs typeface="Lucida Grande"/>
                <a:sym typeface="Lucida Grande"/>
              </a:rPr>
              <a:t>2019</a:t>
            </a:r>
            <a:endParaRPr lang="en-US" altLang="zh-CN" dirty="0">
              <a:solidFill>
                <a:srgbClr val="C00000"/>
              </a:solidFill>
              <a:latin typeface="微软雅黑" panose="020B0503020204020204" charset="-122"/>
              <a:ea typeface="微软雅黑" panose="020B0503020204020204" charset="-122"/>
              <a:sym typeface="Arial" panose="020B0604020202020204" pitchFamily="34" charset="0"/>
            </a:endParaRPr>
          </a:p>
          <a:p>
            <a:r>
              <a:rPr lang="zh-CN" altLang="en-US" sz="2000" dirty="0">
                <a:latin typeface="华文楷体" panose="02010600040101010101" pitchFamily="2" charset="-122"/>
                <a:ea typeface="华文楷体" panose="02010600040101010101" pitchFamily="2" charset="-122"/>
                <a:sym typeface="Arial" panose="020B0604020202020204" pitchFamily="34" charset="0"/>
              </a:rPr>
              <a:t>新平台上线！</a:t>
            </a:r>
            <a:endParaRPr lang="zh-CN" altLang="en-US" sz="2000" dirty="0">
              <a:latin typeface="华文楷体" panose="02010600040101010101" pitchFamily="2" charset="-122"/>
              <a:ea typeface="华文楷体" panose="02010600040101010101" pitchFamily="2" charset="-122"/>
              <a:sym typeface="Arial" panose="020B0604020202020204" pitchFamily="34" charset="0"/>
            </a:endParaRPr>
          </a:p>
        </p:txBody>
      </p:sp>
      <p:pic>
        <p:nvPicPr>
          <p:cNvPr id="2" name="图片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8276" y="5383952"/>
            <a:ext cx="2922589" cy="1397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245"/>
                                        </p:tgtEl>
                                        <p:attrNameLst>
                                          <p:attrName>style.visibility</p:attrName>
                                        </p:attrNameLst>
                                      </p:cBhvr>
                                      <p:to>
                                        <p:strVal val="visible"/>
                                      </p:to>
                                    </p:set>
                                    <p:anim calcmode="lin" valueType="num">
                                      <p:cBhvr additive="base">
                                        <p:cTn id="7" dur="500" fill="hold"/>
                                        <p:tgtEl>
                                          <p:spTgt spid="10245"/>
                                        </p:tgtEl>
                                        <p:attrNameLst>
                                          <p:attrName>ppt_x</p:attrName>
                                        </p:attrNameLst>
                                      </p:cBhvr>
                                      <p:tavLst>
                                        <p:tav tm="0">
                                          <p:val>
                                            <p:strVal val="#ppt_x"/>
                                          </p:val>
                                        </p:tav>
                                        <p:tav tm="100000">
                                          <p:val>
                                            <p:strVal val="#ppt_x"/>
                                          </p:val>
                                        </p:tav>
                                      </p:tavLst>
                                    </p:anim>
                                    <p:anim calcmode="lin" valueType="num">
                                      <p:cBhvr additive="base">
                                        <p:cTn id="8" dur="500" fill="hold"/>
                                        <p:tgtEl>
                                          <p:spTgt spid="10245"/>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0254"/>
                                        </p:tgtEl>
                                        <p:attrNameLst>
                                          <p:attrName>style.visibility</p:attrName>
                                        </p:attrNameLst>
                                      </p:cBhvr>
                                      <p:to>
                                        <p:strVal val="visible"/>
                                      </p:to>
                                    </p:set>
                                    <p:animEffect transition="in" filter="fade">
                                      <p:cBhvr>
                                        <p:cTn id="11" dur="1100"/>
                                        <p:tgtEl>
                                          <p:spTgt spid="10254"/>
                                        </p:tgtEl>
                                      </p:cBhvr>
                                    </p:animEffect>
                                  </p:childTnLst>
                                  <p:subTnLst>
                                    <p:set>
                                      <p:cBhvr override="childStyle">
                                        <p:cTn dur="1" fill="hold" display="0" masterRel="nextClick" afterEffect="1"/>
                                        <p:tgtEl>
                                          <p:spTgt spid="10254"/>
                                        </p:tgtEl>
                                        <p:attrNameLst>
                                          <p:attrName>style.visibility</p:attrName>
                                        </p:attrNameLst>
                                      </p:cBhvr>
                                      <p:to>
                                        <p:strVal val="hidden"/>
                                      </p:to>
                                    </p:set>
                                  </p:sub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600"/>
                                        <p:tgtEl>
                                          <p:spTgt spid="18"/>
                                        </p:tgtEl>
                                      </p:cBhvr>
                                    </p:animEffect>
                                    <p:anim calcmode="lin" valueType="num">
                                      <p:cBhvr>
                                        <p:cTn id="17" dur="600" fill="hold"/>
                                        <p:tgtEl>
                                          <p:spTgt spid="18"/>
                                        </p:tgtEl>
                                        <p:attrNameLst>
                                          <p:attrName>ppt_x</p:attrName>
                                        </p:attrNameLst>
                                      </p:cBhvr>
                                      <p:tavLst>
                                        <p:tav tm="0">
                                          <p:val>
                                            <p:strVal val="#ppt_x"/>
                                          </p:val>
                                        </p:tav>
                                        <p:tav tm="100000">
                                          <p:val>
                                            <p:strVal val="#ppt_x"/>
                                          </p:val>
                                        </p:tav>
                                      </p:tavLst>
                                    </p:anim>
                                    <p:anim calcmode="lin" valueType="num">
                                      <p:cBhvr>
                                        <p:cTn id="18" dur="6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barn(inVertical)">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ppt_x"/>
                                          </p:val>
                                        </p:tav>
                                        <p:tav tm="100000">
                                          <p:val>
                                            <p:strVal val="#ppt_x"/>
                                          </p:val>
                                        </p:tav>
                                      </p:tavLst>
                                    </p:anim>
                                    <p:anim calcmode="lin" valueType="num">
                                      <p:cBhvr additive="base">
                                        <p:cTn id="32" dur="500" fill="hold"/>
                                        <p:tgtEl>
                                          <p:spTgt spid="21"/>
                                        </p:tgtEl>
                                        <p:attrNameLst>
                                          <p:attrName>ppt_y</p:attrName>
                                        </p:attrNameLst>
                                      </p:cBhvr>
                                      <p:tavLst>
                                        <p:tav tm="0">
                                          <p:val>
                                            <p:strVal val="1+#ppt_h/2"/>
                                          </p:val>
                                        </p:tav>
                                        <p:tav tm="100000">
                                          <p:val>
                                            <p:strVal val="#ppt_y"/>
                                          </p:val>
                                        </p:tav>
                                      </p:tavLst>
                                    </p:anim>
                                  </p:childTnLst>
                                </p:cTn>
                              </p:par>
                              <p:par>
                                <p:cTn id="33" presetID="10"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subTnLst>
                                    <p:set>
                                      <p:cBhvr override="childStyle">
                                        <p:cTn dur="1" fill="hold" display="0" masterRel="nextClick" afterEffect="1"/>
                                        <p:tgtEl>
                                          <p:spTgt spid="22"/>
                                        </p:tgtEl>
                                        <p:attrNameLst>
                                          <p:attrName>style.visibility</p:attrName>
                                        </p:attrNameLst>
                                      </p:cBhvr>
                                      <p:to>
                                        <p:strVal val="hidden"/>
                                      </p:to>
                                    </p:set>
                                  </p:sub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 calcmode="lin" valueType="num">
                                      <p:cBhvr additive="base">
                                        <p:cTn id="40" dur="500" fill="hold"/>
                                        <p:tgtEl>
                                          <p:spTgt spid="23"/>
                                        </p:tgtEl>
                                        <p:attrNameLst>
                                          <p:attrName>ppt_x</p:attrName>
                                        </p:attrNameLst>
                                      </p:cBhvr>
                                      <p:tavLst>
                                        <p:tav tm="0">
                                          <p:val>
                                            <p:strVal val="#ppt_x"/>
                                          </p:val>
                                        </p:tav>
                                        <p:tav tm="100000">
                                          <p:val>
                                            <p:strVal val="#ppt_x"/>
                                          </p:val>
                                        </p:tav>
                                      </p:tavLst>
                                    </p:anim>
                                    <p:anim calcmode="lin" valueType="num">
                                      <p:cBhvr additive="base">
                                        <p:cTn id="41" dur="500" fill="hold"/>
                                        <p:tgtEl>
                                          <p:spTgt spid="23"/>
                                        </p:tgtEl>
                                        <p:attrNameLst>
                                          <p:attrName>ppt_y</p:attrName>
                                        </p:attrNameLst>
                                      </p:cBhvr>
                                      <p:tavLst>
                                        <p:tav tm="0">
                                          <p:val>
                                            <p:strVal val="1+#ppt_h/2"/>
                                          </p:val>
                                        </p:tav>
                                        <p:tav tm="100000">
                                          <p:val>
                                            <p:strVal val="#ppt_y"/>
                                          </p:val>
                                        </p:tav>
                                      </p:tavLst>
                                    </p:anim>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25"/>
                                        </p:tgtEl>
                                        <p:attrNameLst>
                                          <p:attrName>style.visibility</p:attrName>
                                        </p:attrNameLst>
                                      </p:cBhvr>
                                      <p:to>
                                        <p:strVal val="visible"/>
                                      </p:to>
                                    </p:set>
                                    <p:anim calcmode="lin" valueType="num">
                                      <p:cBhvr additive="base">
                                        <p:cTn id="50" dur="500" fill="hold"/>
                                        <p:tgtEl>
                                          <p:spTgt spid="25"/>
                                        </p:tgtEl>
                                        <p:attrNameLst>
                                          <p:attrName>ppt_x</p:attrName>
                                        </p:attrNameLst>
                                      </p:cBhvr>
                                      <p:tavLst>
                                        <p:tav tm="0">
                                          <p:val>
                                            <p:strVal val="#ppt_x"/>
                                          </p:val>
                                        </p:tav>
                                        <p:tav tm="100000">
                                          <p:val>
                                            <p:strVal val="#ppt_x"/>
                                          </p:val>
                                        </p:tav>
                                      </p:tavLst>
                                    </p:anim>
                                    <p:anim calcmode="lin" valueType="num">
                                      <p:cBhvr additive="base">
                                        <p:cTn id="51"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grpId="0" nodeType="clickEffect">
                                  <p:stCondLst>
                                    <p:cond delay="0"/>
                                  </p:stCondLst>
                                  <p:childTnLst>
                                    <p:set>
                                      <p:cBhvr>
                                        <p:cTn id="55" dur="1" fill="hold">
                                          <p:stCondLst>
                                            <p:cond delay="0"/>
                                          </p:stCondLst>
                                        </p:cTn>
                                        <p:tgtEl>
                                          <p:spTgt spid="26"/>
                                        </p:tgtEl>
                                        <p:attrNameLst>
                                          <p:attrName>style.visibility</p:attrName>
                                        </p:attrNameLst>
                                      </p:cBhvr>
                                      <p:to>
                                        <p:strVal val="visible"/>
                                      </p:to>
                                    </p:set>
                                    <p:anim calcmode="lin" valueType="num">
                                      <p:cBhvr additive="base">
                                        <p:cTn id="56" dur="500" fill="hold"/>
                                        <p:tgtEl>
                                          <p:spTgt spid="26"/>
                                        </p:tgtEl>
                                        <p:attrNameLst>
                                          <p:attrName>ppt_x</p:attrName>
                                        </p:attrNameLst>
                                      </p:cBhvr>
                                      <p:tavLst>
                                        <p:tav tm="0">
                                          <p:val>
                                            <p:strVal val="#ppt_x"/>
                                          </p:val>
                                        </p:tav>
                                        <p:tav tm="100000">
                                          <p:val>
                                            <p:strVal val="#ppt_x"/>
                                          </p:val>
                                        </p:tav>
                                      </p:tavLst>
                                    </p:anim>
                                    <p:anim calcmode="lin" valueType="num">
                                      <p:cBhvr additive="base">
                                        <p:cTn id="57"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nodeType="clickEffect">
                                  <p:stCondLst>
                                    <p:cond delay="0"/>
                                  </p:stCondLst>
                                  <p:childTnLst>
                                    <p:set>
                                      <p:cBhvr>
                                        <p:cTn id="61" dur="1" fill="hold">
                                          <p:stCondLst>
                                            <p:cond delay="0"/>
                                          </p:stCondLst>
                                        </p:cTn>
                                        <p:tgtEl>
                                          <p:spTgt spid="2"/>
                                        </p:tgtEl>
                                        <p:attrNameLst>
                                          <p:attrName>style.visibility</p:attrName>
                                        </p:attrNameLst>
                                      </p:cBhvr>
                                      <p:to>
                                        <p:strVal val="visible"/>
                                      </p:to>
                                    </p:set>
                                    <p:anim calcmode="lin" valueType="num">
                                      <p:cBhvr additive="base">
                                        <p:cTn id="62" dur="500" fill="hold"/>
                                        <p:tgtEl>
                                          <p:spTgt spid="2"/>
                                        </p:tgtEl>
                                        <p:attrNameLst>
                                          <p:attrName>ppt_x</p:attrName>
                                        </p:attrNameLst>
                                      </p:cBhvr>
                                      <p:tavLst>
                                        <p:tav tm="0">
                                          <p:val>
                                            <p:strVal val="#ppt_x"/>
                                          </p:val>
                                        </p:tav>
                                        <p:tav tm="100000">
                                          <p:val>
                                            <p:strVal val="#ppt_x"/>
                                          </p:val>
                                        </p:tav>
                                      </p:tavLst>
                                    </p:anim>
                                    <p:anim calcmode="lin" valueType="num">
                                      <p:cBhvr additive="base">
                                        <p:cTn id="6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5" grpId="0"/>
      <p:bldP spid="18" grpId="0"/>
      <p:bldP spid="17" grpId="0"/>
      <p:bldP spid="21" grpId="0"/>
      <p:bldP spid="23" grpId="0"/>
      <p:bldP spid="25" grpId="0"/>
      <p:bldP spid="2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p:nvPr/>
        </p:nvPicPr>
        <p:blipFill>
          <a:blip r:embed="rId1"/>
          <a:stretch>
            <a:fillRect/>
          </a:stretch>
        </p:blipFill>
        <p:spPr>
          <a:xfrm>
            <a:off x="20320" y="1196975"/>
            <a:ext cx="9123680" cy="5661025"/>
          </a:xfrm>
          <a:prstGeom prst="rect">
            <a:avLst/>
          </a:prstGeom>
        </p:spPr>
      </p:pic>
      <p:pic>
        <p:nvPicPr>
          <p:cNvPr id="2" name="图片 1"/>
          <p:cNvPicPr>
            <a:picLocks noChangeAspect="1"/>
          </p:cNvPicPr>
          <p:nvPr/>
        </p:nvPicPr>
        <p:blipFill>
          <a:blip r:embed="rId2"/>
          <a:stretch>
            <a:fillRect/>
          </a:stretch>
        </p:blipFill>
        <p:spPr>
          <a:xfrm>
            <a:off x="4140200" y="1772920"/>
            <a:ext cx="3444240" cy="1871980"/>
          </a:xfrm>
          <a:prstGeom prst="rect">
            <a:avLst/>
          </a:prstGeom>
        </p:spPr>
      </p:pic>
      <p:sp>
        <p:nvSpPr>
          <p:cNvPr id="32775" name="TextBox 9"/>
          <p:cNvSpPr txBox="1">
            <a:spLocks noChangeArrowheads="1"/>
          </p:cNvSpPr>
          <p:nvPr/>
        </p:nvSpPr>
        <p:spPr bwMode="auto">
          <a:xfrm>
            <a:off x="4500245" y="1827848"/>
            <a:ext cx="27101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b="1">
                <a:solidFill>
                  <a:srgbClr val="FF0000"/>
                </a:solidFill>
                <a:ea typeface="宋体" panose="02010600030101010101" pitchFamily="2" charset="-122"/>
              </a:rPr>
              <a:t>*荐购需登录个性化账号*</a:t>
            </a:r>
            <a:endParaRPr lang="zh-CN" altLang="en-US" b="1">
              <a:solidFill>
                <a:srgbClr val="FF0000"/>
              </a:solidFill>
              <a:ea typeface="宋体" panose="02010600030101010101" pitchFamily="2" charset="-122"/>
            </a:endParaRPr>
          </a:p>
        </p:txBody>
      </p:sp>
      <p:cxnSp>
        <p:nvCxnSpPr>
          <p:cNvPr id="32771" name="直接箭头连接符 5"/>
          <p:cNvCxnSpPr>
            <a:cxnSpLocks noChangeShapeType="1"/>
          </p:cNvCxnSpPr>
          <p:nvPr/>
        </p:nvCxnSpPr>
        <p:spPr bwMode="auto">
          <a:xfrm flipH="1">
            <a:off x="3347720" y="4293235"/>
            <a:ext cx="2376170" cy="86423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2773"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2772" name="TextBox 6"/>
          <p:cNvSpPr txBox="1">
            <a:spLocks noChangeArrowheads="1"/>
          </p:cNvSpPr>
          <p:nvPr/>
        </p:nvSpPr>
        <p:spPr bwMode="auto">
          <a:xfrm>
            <a:off x="3347720" y="3932873"/>
            <a:ext cx="49834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读者登陆个性化账号可一键式向图书馆推送需求</a:t>
            </a:r>
            <a:endParaRPr lang="zh-CN" altLang="en-US">
              <a:solidFill>
                <a:srgbClr val="FF0000"/>
              </a:solidFill>
              <a:ea typeface="宋体" panose="02010600030101010101"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2771"/>
                                        </p:tgtEl>
                                        <p:attrNameLst>
                                          <p:attrName>style.visibility</p:attrName>
                                        </p:attrNameLst>
                                      </p:cBhvr>
                                      <p:to>
                                        <p:strVal val="visible"/>
                                      </p:to>
                                    </p:set>
                                    <p:anim calcmode="lin" valueType="num">
                                      <p:cBhvr additive="base">
                                        <p:cTn id="7" dur="500" fill="hold"/>
                                        <p:tgtEl>
                                          <p:spTgt spid="32771"/>
                                        </p:tgtEl>
                                        <p:attrNameLst>
                                          <p:attrName>ppt_x</p:attrName>
                                        </p:attrNameLst>
                                      </p:cBhvr>
                                      <p:tavLst>
                                        <p:tav tm="0">
                                          <p:val>
                                            <p:strVal val="#ppt_x"/>
                                          </p:val>
                                        </p:tav>
                                        <p:tav tm="100000">
                                          <p:val>
                                            <p:strVal val="#ppt_x"/>
                                          </p:val>
                                        </p:tav>
                                      </p:tavLst>
                                    </p:anim>
                                    <p:anim calcmode="lin" valueType="num">
                                      <p:cBhvr additive="base">
                                        <p:cTn id="8" dur="500" fill="hold"/>
                                        <p:tgtEl>
                                          <p:spTgt spid="3277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2772"/>
                                        </p:tgtEl>
                                        <p:attrNameLst>
                                          <p:attrName>style.visibility</p:attrName>
                                        </p:attrNameLst>
                                      </p:cBhvr>
                                      <p:to>
                                        <p:strVal val="visible"/>
                                      </p:to>
                                    </p:set>
                                    <p:anim calcmode="lin" valueType="num">
                                      <p:cBhvr additive="base">
                                        <p:cTn id="11" dur="500" fill="hold"/>
                                        <p:tgtEl>
                                          <p:spTgt spid="32772"/>
                                        </p:tgtEl>
                                        <p:attrNameLst>
                                          <p:attrName>ppt_x</p:attrName>
                                        </p:attrNameLst>
                                      </p:cBhvr>
                                      <p:tavLst>
                                        <p:tav tm="0">
                                          <p:val>
                                            <p:strVal val="#ppt_x"/>
                                          </p:val>
                                        </p:tav>
                                        <p:tav tm="100000">
                                          <p:val>
                                            <p:strVal val="#ppt_x"/>
                                          </p:val>
                                        </p:tav>
                                      </p:tavLst>
                                    </p:anim>
                                    <p:anim calcmode="lin" valueType="num">
                                      <p:cBhvr additive="base">
                                        <p:cTn id="12" dur="500" fill="hold"/>
                                        <p:tgtEl>
                                          <p:spTgt spid="3277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par>
                                <p:cTn id="18" presetID="4" presetClass="entr" presetSubtype="16" fill="hold" grpId="1" nodeType="withEffect">
                                  <p:stCondLst>
                                    <p:cond delay="0"/>
                                  </p:stCondLst>
                                  <p:childTnLst>
                                    <p:set>
                                      <p:cBhvr>
                                        <p:cTn id="19" dur="1000" fill="hold">
                                          <p:stCondLst>
                                            <p:cond delay="0"/>
                                          </p:stCondLst>
                                        </p:cTn>
                                        <p:tgtEl>
                                          <p:spTgt spid="32775"/>
                                        </p:tgtEl>
                                        <p:attrNameLst>
                                          <p:attrName>style.visibility</p:attrName>
                                        </p:attrNameLst>
                                      </p:cBhvr>
                                      <p:to>
                                        <p:strVal val="visible"/>
                                      </p:to>
                                    </p:set>
                                    <p:animEffect transition="in" filter="box(in)">
                                      <p:cBhvr>
                                        <p:cTn id="20" dur="1000"/>
                                        <p:tgtEl>
                                          <p:spTgt spid="327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75" grpId="1"/>
      <p:bldP spid="3277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pic>
        <p:nvPicPr>
          <p:cNvPr id="31747" name="图片 2"/>
          <p:cNvPicPr>
            <a:picLocks noChangeAspect="1" noChangeArrowheads="1"/>
          </p:cNvPicPr>
          <p:nvPr>
            <p:custDataLst>
              <p:tags r:id="rId1"/>
            </p:custDataLst>
          </p:nvPr>
        </p:nvPicPr>
        <p:blipFill>
          <a:blip r:embed="rId2">
            <a:extLst>
              <a:ext uri="{28A0092B-C50C-407E-A947-70E740481C1C}">
                <a14:useLocalDpi xmlns:a14="http://schemas.microsoft.com/office/drawing/2010/main" val="0"/>
              </a:ext>
            </a:extLst>
          </a:blip>
          <a:srcRect/>
          <a:stretch>
            <a:fillRect/>
          </a:stretch>
        </p:blipFill>
        <p:spPr bwMode="auto">
          <a:xfrm>
            <a:off x="665262" y="1462088"/>
            <a:ext cx="131445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图片 3"/>
          <p:cNvPicPr>
            <a:picLocks noChangeAspect="1" noChangeArrowheads="1"/>
          </p:cNvPicPr>
          <p:nvPr>
            <p:custDataLst>
              <p:tags r:id="rId3"/>
            </p:custDataLst>
          </p:nvPr>
        </p:nvPicPr>
        <p:blipFill>
          <a:blip r:embed="rId4">
            <a:extLst>
              <a:ext uri="{28A0092B-C50C-407E-A947-70E740481C1C}">
                <a14:useLocalDpi xmlns:a14="http://schemas.microsoft.com/office/drawing/2010/main" val="0"/>
              </a:ext>
            </a:extLst>
          </a:blip>
          <a:srcRect/>
          <a:stretch>
            <a:fillRect/>
          </a:stretch>
        </p:blipFill>
        <p:spPr bwMode="auto">
          <a:xfrm>
            <a:off x="665480" y="2672080"/>
            <a:ext cx="1314450" cy="11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9" name="图片 4"/>
          <p:cNvPicPr>
            <a:picLocks noChangeAspect="1" noChangeArrowheads="1"/>
          </p:cNvPicPr>
          <p:nvPr>
            <p:custDataLst>
              <p:tags r:id="rId5"/>
            </p:custDataLst>
          </p:nvPr>
        </p:nvPicPr>
        <p:blipFill>
          <a:blip r:embed="rId6">
            <a:extLst>
              <a:ext uri="{28A0092B-C50C-407E-A947-70E740481C1C}">
                <a14:useLocalDpi xmlns:a14="http://schemas.microsoft.com/office/drawing/2010/main" val="0"/>
              </a:ext>
            </a:extLst>
          </a:blip>
          <a:srcRect/>
          <a:stretch>
            <a:fillRect/>
          </a:stretch>
        </p:blipFill>
        <p:spPr bwMode="auto">
          <a:xfrm>
            <a:off x="665480" y="4725035"/>
            <a:ext cx="1314450" cy="11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0" name="图片 6"/>
          <p:cNvPicPr>
            <a:picLocks noChangeAspect="1" noChangeArrowheads="1"/>
          </p:cNvPicPr>
          <p:nvPr>
            <p:custDataLst>
              <p:tags r:id="rId7"/>
            </p:custDataLst>
          </p:nvPr>
        </p:nvPicPr>
        <p:blipFill>
          <a:blip r:embed="rId8">
            <a:extLst>
              <a:ext uri="{28A0092B-C50C-407E-A947-70E740481C1C}">
                <a14:useLocalDpi xmlns:a14="http://schemas.microsoft.com/office/drawing/2010/main" val="0"/>
              </a:ext>
            </a:extLst>
          </a:blip>
          <a:srcRect/>
          <a:stretch>
            <a:fillRect/>
          </a:stretch>
        </p:blipFill>
        <p:spPr bwMode="auto">
          <a:xfrm>
            <a:off x="665325" y="3644741"/>
            <a:ext cx="131445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1" name="文本框 7"/>
          <p:cNvSpPr txBox="1">
            <a:spLocks noChangeArrowheads="1"/>
          </p:cNvSpPr>
          <p:nvPr>
            <p:custDataLst>
              <p:tags r:id="rId9"/>
            </p:custDataLst>
          </p:nvPr>
        </p:nvSpPr>
        <p:spPr bwMode="auto">
          <a:xfrm>
            <a:off x="2268538" y="1916113"/>
            <a:ext cx="66468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ea typeface="宋体" panose="02010600030101010101" pitchFamily="2" charset="-122"/>
              </a:rPr>
              <a:t>此篇论文读者可向机构申请使用机构额度购买，论文上线后读者</a:t>
            </a:r>
            <a:endParaRPr lang="en-US" altLang="zh-CN">
              <a:ea typeface="宋体" panose="02010600030101010101" pitchFamily="2" charset="-122"/>
            </a:endParaRPr>
          </a:p>
          <a:p>
            <a:r>
              <a:rPr lang="zh-CN" altLang="en-US">
                <a:ea typeface="宋体" panose="02010600030101010101" pitchFamily="2" charset="-122"/>
              </a:rPr>
              <a:t>免费使用全文。</a:t>
            </a:r>
            <a:endParaRPr lang="zh-CN" altLang="en-US">
              <a:ea typeface="宋体" panose="02010600030101010101" pitchFamily="2" charset="-122"/>
            </a:endParaRPr>
          </a:p>
        </p:txBody>
      </p:sp>
      <p:sp>
        <p:nvSpPr>
          <p:cNvPr id="31752" name="文本框 22"/>
          <p:cNvSpPr txBox="1">
            <a:spLocks noChangeArrowheads="1"/>
          </p:cNvSpPr>
          <p:nvPr>
            <p:custDataLst>
              <p:tags r:id="rId10"/>
            </p:custDataLst>
          </p:nvPr>
        </p:nvSpPr>
        <p:spPr bwMode="auto">
          <a:xfrm>
            <a:off x="2268538" y="2938463"/>
            <a:ext cx="66214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ea typeface="宋体" panose="02010600030101010101" pitchFamily="2" charset="-122"/>
              </a:rPr>
              <a:t>此篇论文机构已经购买全文权限，读者在机构</a:t>
            </a:r>
            <a:r>
              <a:rPr lang="en-US" altLang="zh-CN">
                <a:ea typeface="宋体" panose="02010600030101010101" pitchFamily="2" charset="-122"/>
              </a:rPr>
              <a:t>IP</a:t>
            </a:r>
            <a:r>
              <a:rPr lang="zh-CN" altLang="en-US">
                <a:ea typeface="宋体" panose="02010600030101010101" pitchFamily="2" charset="-122"/>
              </a:rPr>
              <a:t>范围可免费使用</a:t>
            </a:r>
            <a:endParaRPr lang="en-US" altLang="zh-CN">
              <a:ea typeface="宋体" panose="02010600030101010101" pitchFamily="2" charset="-122"/>
            </a:endParaRPr>
          </a:p>
          <a:p>
            <a:r>
              <a:rPr lang="zh-CN" altLang="en-US">
                <a:ea typeface="宋体" panose="02010600030101010101" pitchFamily="2" charset="-122"/>
              </a:rPr>
              <a:t>全文。</a:t>
            </a:r>
            <a:endParaRPr lang="zh-CN" altLang="en-US">
              <a:ea typeface="宋体" panose="02010600030101010101" pitchFamily="2" charset="-122"/>
            </a:endParaRPr>
          </a:p>
        </p:txBody>
      </p:sp>
      <p:sp>
        <p:nvSpPr>
          <p:cNvPr id="31753" name="文本框 23"/>
          <p:cNvSpPr txBox="1">
            <a:spLocks noChangeArrowheads="1"/>
          </p:cNvSpPr>
          <p:nvPr>
            <p:custDataLst>
              <p:tags r:id="rId11"/>
            </p:custDataLst>
          </p:nvPr>
        </p:nvSpPr>
        <p:spPr bwMode="auto">
          <a:xfrm>
            <a:off x="2268538" y="4059238"/>
            <a:ext cx="635508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ea typeface="宋体" panose="02010600030101010101" pitchFamily="2" charset="-122"/>
              </a:rPr>
              <a:t>此篇论文中国集团已经购买全文权限，读者可与图书馆联络。</a:t>
            </a:r>
            <a:endParaRPr lang="zh-CN" altLang="en-US">
              <a:ea typeface="宋体" panose="02010600030101010101" pitchFamily="2" charset="-122"/>
            </a:endParaRPr>
          </a:p>
          <a:p>
            <a:r>
              <a:rPr lang="zh-CN" altLang="en-US">
                <a:ea typeface="宋体" panose="02010600030101010101" pitchFamily="2" charset="-122"/>
              </a:rPr>
              <a:t>（如已买全资源，则无此图标出现）</a:t>
            </a:r>
            <a:endParaRPr lang="zh-CN" altLang="en-US">
              <a:ea typeface="宋体" panose="02010600030101010101" pitchFamily="2" charset="-122"/>
            </a:endParaRPr>
          </a:p>
        </p:txBody>
      </p:sp>
      <p:sp>
        <p:nvSpPr>
          <p:cNvPr id="31754" name="文本框 24"/>
          <p:cNvSpPr txBox="1">
            <a:spLocks noChangeArrowheads="1"/>
          </p:cNvSpPr>
          <p:nvPr>
            <p:custDataLst>
              <p:tags r:id="rId12"/>
            </p:custDataLst>
          </p:nvPr>
        </p:nvSpPr>
        <p:spPr bwMode="auto">
          <a:xfrm>
            <a:off x="2268538" y="5157192"/>
            <a:ext cx="66484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dirty="0">
                <a:ea typeface="宋体" panose="02010600030101010101" pitchFamily="2" charset="-122"/>
              </a:rPr>
              <a:t>此篇论文可能因作者设置的论文保密期尚未结束，暂时无法获取</a:t>
            </a:r>
            <a:endParaRPr lang="en-US" altLang="zh-CN" dirty="0">
              <a:ea typeface="宋体" panose="02010600030101010101" pitchFamily="2" charset="-122"/>
            </a:endParaRPr>
          </a:p>
          <a:p>
            <a:r>
              <a:rPr lang="zh-CN" altLang="en-US" dirty="0">
                <a:ea typeface="宋体" panose="02010600030101010101" pitchFamily="2" charset="-122"/>
              </a:rPr>
              <a:t>全文。</a:t>
            </a:r>
            <a:endParaRPr lang="zh-CN" altLang="en-US" dirty="0">
              <a:ea typeface="宋体" panose="02010600030101010101" pitchFamily="2"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p:nvPr/>
        </p:nvPicPr>
        <p:blipFill>
          <a:blip r:embed="rId1"/>
          <a:stretch>
            <a:fillRect/>
          </a:stretch>
        </p:blipFill>
        <p:spPr>
          <a:xfrm>
            <a:off x="-4445" y="1196975"/>
            <a:ext cx="9148445" cy="5661025"/>
          </a:xfrm>
          <a:prstGeom prst="rect">
            <a:avLst/>
          </a:prstGeom>
        </p:spPr>
      </p:pic>
      <p:cxnSp>
        <p:nvCxnSpPr>
          <p:cNvPr id="33795" name="直接箭头连接符 5"/>
          <p:cNvCxnSpPr>
            <a:cxnSpLocks noChangeShapeType="1"/>
          </p:cNvCxnSpPr>
          <p:nvPr/>
        </p:nvCxnSpPr>
        <p:spPr bwMode="auto">
          <a:xfrm flipH="1" flipV="1">
            <a:off x="2772410" y="2492693"/>
            <a:ext cx="449263" cy="18415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3796" name="TextBox 6"/>
          <p:cNvSpPr txBox="1">
            <a:spLocks noChangeArrowheads="1"/>
          </p:cNvSpPr>
          <p:nvPr/>
        </p:nvSpPr>
        <p:spPr bwMode="auto">
          <a:xfrm>
            <a:off x="3204210" y="2492693"/>
            <a:ext cx="29543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针对专业词组的学术性检索</a:t>
            </a:r>
            <a:endParaRPr lang="zh-CN" altLang="en-US">
              <a:solidFill>
                <a:srgbClr val="FF0000"/>
              </a:solidFill>
              <a:ea typeface="宋体" panose="02010600030101010101" pitchFamily="2" charset="-122"/>
            </a:endParaRPr>
          </a:p>
        </p:txBody>
      </p:sp>
      <p:sp>
        <p:nvSpPr>
          <p:cNvPr id="33797"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3799" name="TextBox 6"/>
          <p:cNvSpPr txBox="1">
            <a:spLocks noChangeArrowheads="1"/>
          </p:cNvSpPr>
          <p:nvPr/>
        </p:nvSpPr>
        <p:spPr bwMode="auto">
          <a:xfrm>
            <a:off x="1691640" y="4221480"/>
            <a:ext cx="3416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精确的定位，能够提高检索效率</a:t>
            </a:r>
            <a:endParaRPr lang="zh-CN" altLang="en-US">
              <a:solidFill>
                <a:srgbClr val="FF0000"/>
              </a:solidFill>
              <a:ea typeface="宋体" panose="02010600030101010101" pitchFamily="2" charset="-122"/>
            </a:endParaRPr>
          </a:p>
        </p:txBody>
      </p:sp>
      <p:cxnSp>
        <p:nvCxnSpPr>
          <p:cNvPr id="33800" name="直接箭头连接符 5"/>
          <p:cNvCxnSpPr>
            <a:cxnSpLocks noChangeShapeType="1"/>
          </p:cNvCxnSpPr>
          <p:nvPr/>
        </p:nvCxnSpPr>
        <p:spPr bwMode="auto">
          <a:xfrm flipH="1" flipV="1">
            <a:off x="1115695" y="2853055"/>
            <a:ext cx="1385570" cy="138684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pic>
        <p:nvPicPr>
          <p:cNvPr id="2" name="图片 1"/>
          <p:cNvPicPr>
            <a:picLocks noChangeAspect="1"/>
          </p:cNvPicPr>
          <p:nvPr/>
        </p:nvPicPr>
        <p:blipFill>
          <a:blip r:embed="rId2"/>
          <a:stretch>
            <a:fillRect/>
          </a:stretch>
        </p:blipFill>
        <p:spPr>
          <a:xfrm>
            <a:off x="5130800" y="2933065"/>
            <a:ext cx="3599180" cy="3116580"/>
          </a:xfrm>
          <a:prstGeom prst="rect">
            <a:avLst/>
          </a:prstGeom>
        </p:spPr>
      </p:pic>
      <p:cxnSp>
        <p:nvCxnSpPr>
          <p:cNvPr id="33801" name="直接箭头连接符 5"/>
          <p:cNvCxnSpPr>
            <a:cxnSpLocks noChangeShapeType="1"/>
          </p:cNvCxnSpPr>
          <p:nvPr/>
        </p:nvCxnSpPr>
        <p:spPr bwMode="auto">
          <a:xfrm flipV="1">
            <a:off x="4284345" y="3357245"/>
            <a:ext cx="1223645" cy="93599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4787900" y="1357630"/>
            <a:ext cx="2379980" cy="5331460"/>
          </a:xfrm>
          <a:prstGeom prst="rect">
            <a:avLst/>
          </a:prstGeom>
        </p:spPr>
      </p:pic>
      <p:pic>
        <p:nvPicPr>
          <p:cNvPr id="2" name="图片 1"/>
          <p:cNvPicPr>
            <a:picLocks noChangeAspect="1"/>
          </p:cNvPicPr>
          <p:nvPr/>
        </p:nvPicPr>
        <p:blipFill>
          <a:blip r:embed="rId2"/>
          <a:stretch>
            <a:fillRect/>
          </a:stretch>
        </p:blipFill>
        <p:spPr>
          <a:xfrm>
            <a:off x="179705" y="1357630"/>
            <a:ext cx="2283460" cy="5433695"/>
          </a:xfrm>
          <a:prstGeom prst="rect">
            <a:avLst/>
          </a:prstGeom>
        </p:spPr>
      </p:pic>
      <p:cxnSp>
        <p:nvCxnSpPr>
          <p:cNvPr id="34820" name="直接箭头连接符 5"/>
          <p:cNvCxnSpPr>
            <a:cxnSpLocks noChangeShapeType="1"/>
          </p:cNvCxnSpPr>
          <p:nvPr/>
        </p:nvCxnSpPr>
        <p:spPr bwMode="auto">
          <a:xfrm flipH="1">
            <a:off x="1763395" y="2832100"/>
            <a:ext cx="432435" cy="30924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4821" name="TextBox 6"/>
          <p:cNvSpPr txBox="1">
            <a:spLocks noChangeArrowheads="1"/>
          </p:cNvSpPr>
          <p:nvPr/>
        </p:nvSpPr>
        <p:spPr bwMode="auto">
          <a:xfrm>
            <a:off x="971233" y="2482850"/>
            <a:ext cx="41433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读者可对检索结果有无全文进行筛选</a:t>
            </a:r>
            <a:endParaRPr lang="zh-CN" altLang="en-US">
              <a:solidFill>
                <a:srgbClr val="FF0000"/>
              </a:solidFill>
              <a:ea typeface="宋体" panose="02010600030101010101" pitchFamily="2" charset="-122"/>
            </a:endParaRPr>
          </a:p>
        </p:txBody>
      </p:sp>
      <p:cxnSp>
        <p:nvCxnSpPr>
          <p:cNvPr id="34822" name="直接箭头连接符 8"/>
          <p:cNvCxnSpPr>
            <a:cxnSpLocks noChangeShapeType="1"/>
          </p:cNvCxnSpPr>
          <p:nvPr/>
        </p:nvCxnSpPr>
        <p:spPr bwMode="auto">
          <a:xfrm flipH="1">
            <a:off x="5796280" y="1534795"/>
            <a:ext cx="2015490" cy="9398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4823" name="TextBox 9"/>
          <p:cNvSpPr txBox="1">
            <a:spLocks noChangeArrowheads="1"/>
          </p:cNvSpPr>
          <p:nvPr/>
        </p:nvSpPr>
        <p:spPr bwMode="auto">
          <a:xfrm>
            <a:off x="7811770" y="1349693"/>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学科筛选</a:t>
            </a:r>
            <a:endParaRPr lang="zh-CN" altLang="en-US">
              <a:solidFill>
                <a:srgbClr val="FF0000"/>
              </a:solidFill>
              <a:ea typeface="宋体" panose="02010600030101010101" pitchFamily="2" charset="-122"/>
            </a:endParaRPr>
          </a:p>
        </p:txBody>
      </p:sp>
      <p:cxnSp>
        <p:nvCxnSpPr>
          <p:cNvPr id="34824" name="直接箭头连接符 11"/>
          <p:cNvCxnSpPr>
            <a:cxnSpLocks noChangeShapeType="1"/>
            <a:stCxn id="34825" idx="1"/>
          </p:cNvCxnSpPr>
          <p:nvPr/>
        </p:nvCxnSpPr>
        <p:spPr bwMode="auto">
          <a:xfrm flipH="1">
            <a:off x="5940425" y="3037840"/>
            <a:ext cx="1223645" cy="24701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4825" name="TextBox 12"/>
          <p:cNvSpPr txBox="1">
            <a:spLocks noChangeArrowheads="1"/>
          </p:cNvSpPr>
          <p:nvPr/>
        </p:nvSpPr>
        <p:spPr bwMode="auto">
          <a:xfrm>
            <a:off x="7164070" y="2852738"/>
            <a:ext cx="2032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论文来源学校筛选</a:t>
            </a:r>
            <a:endParaRPr lang="zh-CN" altLang="en-US">
              <a:solidFill>
                <a:srgbClr val="FF0000"/>
              </a:solidFill>
              <a:ea typeface="宋体" panose="02010600030101010101" pitchFamily="2" charset="-122"/>
            </a:endParaRPr>
          </a:p>
        </p:txBody>
      </p:sp>
      <p:cxnSp>
        <p:nvCxnSpPr>
          <p:cNvPr id="34826" name="直接箭头连接符 14"/>
          <p:cNvCxnSpPr>
            <a:cxnSpLocks noChangeShapeType="1"/>
          </p:cNvCxnSpPr>
          <p:nvPr/>
        </p:nvCxnSpPr>
        <p:spPr bwMode="auto">
          <a:xfrm flipH="1">
            <a:off x="5939790" y="4950460"/>
            <a:ext cx="1080135" cy="2159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4827" name="TextBox 15"/>
          <p:cNvSpPr txBox="1">
            <a:spLocks noChangeArrowheads="1"/>
          </p:cNvSpPr>
          <p:nvPr/>
        </p:nvSpPr>
        <p:spPr bwMode="auto">
          <a:xfrm>
            <a:off x="7019925" y="4724718"/>
            <a:ext cx="180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论文的语言筛选</a:t>
            </a:r>
            <a:endParaRPr lang="zh-CN" altLang="en-US">
              <a:solidFill>
                <a:srgbClr val="FF0000"/>
              </a:solidFill>
              <a:ea typeface="宋体" panose="02010600030101010101" pitchFamily="2" charset="-122"/>
            </a:endParaRPr>
          </a:p>
        </p:txBody>
      </p:sp>
      <p:sp>
        <p:nvSpPr>
          <p:cNvPr id="34828" name="TextBox 15"/>
          <p:cNvSpPr txBox="1">
            <a:spLocks noChangeArrowheads="1"/>
          </p:cNvSpPr>
          <p:nvPr/>
        </p:nvSpPr>
        <p:spPr bwMode="auto">
          <a:xfrm>
            <a:off x="2627313" y="4772025"/>
            <a:ext cx="1783080" cy="175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柱状图</a:t>
            </a:r>
            <a:endParaRPr lang="zh-CN" altLang="en-US">
              <a:solidFill>
                <a:srgbClr val="FF0000"/>
              </a:solidFill>
              <a:ea typeface="宋体" panose="02010600030101010101" pitchFamily="2" charset="-122"/>
            </a:endParaRPr>
          </a:p>
          <a:p>
            <a:endParaRPr lang="en-US" altLang="zh-CN">
              <a:solidFill>
                <a:srgbClr val="FF0000"/>
              </a:solidFill>
              <a:ea typeface="宋体" panose="02010600030101010101" pitchFamily="2" charset="-122"/>
            </a:endParaRPr>
          </a:p>
          <a:p>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拖拉条</a:t>
            </a:r>
            <a:endParaRPr lang="zh-CN" altLang="en-US">
              <a:solidFill>
                <a:srgbClr val="FF0000"/>
              </a:solidFill>
              <a:ea typeface="宋体" panose="02010600030101010101" pitchFamily="2" charset="-122"/>
            </a:endParaRPr>
          </a:p>
          <a:p>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自定义年度选择</a:t>
            </a:r>
            <a:endParaRPr lang="zh-CN" altLang="en-US">
              <a:solidFill>
                <a:srgbClr val="FF0000"/>
              </a:solidFill>
              <a:ea typeface="宋体" panose="02010600030101010101" pitchFamily="2" charset="-122"/>
            </a:endParaRPr>
          </a:p>
        </p:txBody>
      </p:sp>
      <p:cxnSp>
        <p:nvCxnSpPr>
          <p:cNvPr id="34829" name="直接箭头连接符 14"/>
          <p:cNvCxnSpPr>
            <a:cxnSpLocks noChangeShapeType="1"/>
          </p:cNvCxnSpPr>
          <p:nvPr/>
        </p:nvCxnSpPr>
        <p:spPr bwMode="auto">
          <a:xfrm flipH="1" flipV="1">
            <a:off x="2123440" y="4627880"/>
            <a:ext cx="432435" cy="36004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34830"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zh-CN" altLang="en-US" sz="2800">
                <a:ea typeface="宋体" panose="02010600030101010101" pitchFamily="2" charset="-122"/>
              </a:rPr>
              <a:t>庞大数据后的筛选功能</a:t>
            </a:r>
            <a:endParaRPr lang="zh-CN" altLang="en-US" sz="2800">
              <a:ea typeface="宋体" panose="02010600030101010101" pitchFamily="2" charset="-122"/>
            </a:endParaRPr>
          </a:p>
        </p:txBody>
      </p:sp>
      <p:cxnSp>
        <p:nvCxnSpPr>
          <p:cNvPr id="34831" name="直接箭头连接符 14"/>
          <p:cNvCxnSpPr>
            <a:cxnSpLocks noChangeShapeType="1"/>
          </p:cNvCxnSpPr>
          <p:nvPr/>
        </p:nvCxnSpPr>
        <p:spPr bwMode="auto">
          <a:xfrm flipH="1">
            <a:off x="2267585" y="5779770"/>
            <a:ext cx="360045" cy="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cxnSp>
        <p:nvCxnSpPr>
          <p:cNvPr id="34832" name="直接箭头连接符 14"/>
          <p:cNvCxnSpPr>
            <a:cxnSpLocks noChangeShapeType="1"/>
          </p:cNvCxnSpPr>
          <p:nvPr/>
        </p:nvCxnSpPr>
        <p:spPr bwMode="auto">
          <a:xfrm flipH="1">
            <a:off x="2277745" y="6355715"/>
            <a:ext cx="349885" cy="254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0" y="1235075"/>
            <a:ext cx="9144000" cy="5607050"/>
          </a:xfrm>
          <a:prstGeom prst="rect">
            <a:avLst/>
          </a:prstGeom>
        </p:spPr>
      </p:pic>
      <p:sp>
        <p:nvSpPr>
          <p:cNvPr id="35843"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5844" name="TextBox 6"/>
          <p:cNvSpPr txBox="1">
            <a:spLocks noChangeArrowheads="1"/>
          </p:cNvSpPr>
          <p:nvPr/>
        </p:nvSpPr>
        <p:spPr bwMode="auto">
          <a:xfrm>
            <a:off x="3707765" y="2121535"/>
            <a:ext cx="4550410" cy="1229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b="1">
                <a:solidFill>
                  <a:srgbClr val="FF0000"/>
                </a:solidFill>
                <a:ea typeface="宋体" panose="02010600030101010101" pitchFamily="2" charset="-122"/>
              </a:rPr>
              <a:t>每十年为一个立柱，鼠标停留立柱上，显示</a:t>
            </a:r>
            <a:endParaRPr lang="zh-CN" altLang="en-US" b="1">
              <a:solidFill>
                <a:srgbClr val="FF0000"/>
              </a:solidFill>
              <a:ea typeface="宋体" panose="02010600030101010101" pitchFamily="2" charset="-122"/>
            </a:endParaRPr>
          </a:p>
          <a:p>
            <a:endParaRPr lang="zh-CN" altLang="en-US" sz="1000" b="1">
              <a:solidFill>
                <a:srgbClr val="FF0000"/>
              </a:solidFill>
              <a:ea typeface="宋体" panose="02010600030101010101" pitchFamily="2" charset="-122"/>
            </a:endParaRPr>
          </a:p>
          <a:p>
            <a:r>
              <a:rPr lang="zh-CN" altLang="en-US" b="1">
                <a:solidFill>
                  <a:srgbClr val="FF0000"/>
                </a:solidFill>
                <a:ea typeface="宋体" panose="02010600030101010101" pitchFamily="2" charset="-122"/>
              </a:rPr>
              <a:t>此立柱代表年度范围及论文数量，点击立柱</a:t>
            </a:r>
            <a:endParaRPr lang="zh-CN" altLang="en-US" b="1">
              <a:solidFill>
                <a:srgbClr val="FF0000"/>
              </a:solidFill>
              <a:ea typeface="宋体" panose="02010600030101010101" pitchFamily="2" charset="-122"/>
            </a:endParaRPr>
          </a:p>
          <a:p>
            <a:endParaRPr lang="zh-CN" altLang="en-US" sz="1000" b="1">
              <a:solidFill>
                <a:srgbClr val="FF0000"/>
              </a:solidFill>
              <a:ea typeface="宋体" panose="02010600030101010101" pitchFamily="2" charset="-122"/>
            </a:endParaRPr>
          </a:p>
          <a:p>
            <a:r>
              <a:rPr lang="zh-CN" altLang="en-US" b="1">
                <a:solidFill>
                  <a:srgbClr val="FF0000"/>
                </a:solidFill>
                <a:ea typeface="宋体" panose="02010600030101010101" pitchFamily="2" charset="-122"/>
              </a:rPr>
              <a:t>可细分十年论文分布</a:t>
            </a:r>
            <a:endParaRPr lang="zh-CN" altLang="en-US" b="1">
              <a:solidFill>
                <a:srgbClr val="FF0000"/>
              </a:solidFill>
              <a:ea typeface="宋体" panose="02010600030101010101" pitchFamily="2" charset="-122"/>
            </a:endParaRPr>
          </a:p>
        </p:txBody>
      </p:sp>
      <p:cxnSp>
        <p:nvCxnSpPr>
          <p:cNvPr id="35845" name="直接箭头连接符 5"/>
          <p:cNvCxnSpPr>
            <a:cxnSpLocks noChangeShapeType="1"/>
          </p:cNvCxnSpPr>
          <p:nvPr/>
        </p:nvCxnSpPr>
        <p:spPr bwMode="auto">
          <a:xfrm flipH="1">
            <a:off x="2195830" y="3357245"/>
            <a:ext cx="2304415" cy="181102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pic>
        <p:nvPicPr>
          <p:cNvPr id="3" name="图片 2"/>
          <p:cNvPicPr>
            <a:picLocks noChangeAspect="1"/>
          </p:cNvPicPr>
          <p:nvPr/>
        </p:nvPicPr>
        <p:blipFill>
          <a:blip r:embed="rId2"/>
          <a:stretch>
            <a:fillRect/>
          </a:stretch>
        </p:blipFill>
        <p:spPr>
          <a:xfrm>
            <a:off x="5659120" y="3429000"/>
            <a:ext cx="3537585" cy="3244215"/>
          </a:xfrm>
          <a:prstGeom prst="rect">
            <a:avLst/>
          </a:prstGeom>
        </p:spPr>
      </p:pic>
      <p:cxnSp>
        <p:nvCxnSpPr>
          <p:cNvPr id="35847" name="直接箭头连接符 5"/>
          <p:cNvCxnSpPr>
            <a:cxnSpLocks noChangeShapeType="1"/>
          </p:cNvCxnSpPr>
          <p:nvPr/>
        </p:nvCxnSpPr>
        <p:spPr bwMode="auto">
          <a:xfrm>
            <a:off x="7590155" y="2847340"/>
            <a:ext cx="6350" cy="58166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5844"/>
                                        </p:tgtEl>
                                        <p:attrNameLst>
                                          <p:attrName>style.visibility</p:attrName>
                                        </p:attrNameLst>
                                      </p:cBhvr>
                                      <p:to>
                                        <p:strVal val="visible"/>
                                      </p:to>
                                    </p:set>
                                    <p:animEffect transition="in" filter="wipe(down)">
                                      <p:cBhvr>
                                        <p:cTn id="7" dur="580">
                                          <p:stCondLst>
                                            <p:cond delay="0"/>
                                          </p:stCondLst>
                                        </p:cTn>
                                        <p:tgtEl>
                                          <p:spTgt spid="35844"/>
                                        </p:tgtEl>
                                      </p:cBhvr>
                                    </p:animEffect>
                                    <p:anim calcmode="lin" valueType="num">
                                      <p:cBhvr>
                                        <p:cTn id="8" dur="1822" tmFilter="0,0; 0.14,0.36; 0.43,0.73; 0.71,0.91; 1.0,1.0">
                                          <p:stCondLst>
                                            <p:cond delay="0"/>
                                          </p:stCondLst>
                                        </p:cTn>
                                        <p:tgtEl>
                                          <p:spTgt spid="3584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584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584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584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5844"/>
                                        </p:tgtEl>
                                        <p:attrNameLst>
                                          <p:attrName>ppt_y</p:attrName>
                                        </p:attrNameLst>
                                      </p:cBhvr>
                                      <p:tavLst>
                                        <p:tav tm="0" fmla="#ppt_y-sin(pi*$)/81">
                                          <p:val>
                                            <p:fltVal val="0"/>
                                          </p:val>
                                        </p:tav>
                                        <p:tav tm="100000">
                                          <p:val>
                                            <p:fltVal val="1"/>
                                          </p:val>
                                        </p:tav>
                                      </p:tavLst>
                                    </p:anim>
                                    <p:animScale>
                                      <p:cBhvr>
                                        <p:cTn id="13" dur="26">
                                          <p:stCondLst>
                                            <p:cond delay="650"/>
                                          </p:stCondLst>
                                        </p:cTn>
                                        <p:tgtEl>
                                          <p:spTgt spid="35844"/>
                                        </p:tgtEl>
                                      </p:cBhvr>
                                      <p:to x="100000" y="60000"/>
                                    </p:animScale>
                                    <p:animScale>
                                      <p:cBhvr>
                                        <p:cTn id="14" dur="166" decel="50000">
                                          <p:stCondLst>
                                            <p:cond delay="676"/>
                                          </p:stCondLst>
                                        </p:cTn>
                                        <p:tgtEl>
                                          <p:spTgt spid="35844"/>
                                        </p:tgtEl>
                                      </p:cBhvr>
                                      <p:to x="100000" y="100000"/>
                                    </p:animScale>
                                    <p:animScale>
                                      <p:cBhvr>
                                        <p:cTn id="15" dur="26">
                                          <p:stCondLst>
                                            <p:cond delay="1312"/>
                                          </p:stCondLst>
                                        </p:cTn>
                                        <p:tgtEl>
                                          <p:spTgt spid="35844"/>
                                        </p:tgtEl>
                                      </p:cBhvr>
                                      <p:to x="100000" y="80000"/>
                                    </p:animScale>
                                    <p:animScale>
                                      <p:cBhvr>
                                        <p:cTn id="16" dur="166" decel="50000">
                                          <p:stCondLst>
                                            <p:cond delay="1338"/>
                                          </p:stCondLst>
                                        </p:cTn>
                                        <p:tgtEl>
                                          <p:spTgt spid="35844"/>
                                        </p:tgtEl>
                                      </p:cBhvr>
                                      <p:to x="100000" y="100000"/>
                                    </p:animScale>
                                    <p:animScale>
                                      <p:cBhvr>
                                        <p:cTn id="17" dur="26">
                                          <p:stCondLst>
                                            <p:cond delay="1642"/>
                                          </p:stCondLst>
                                        </p:cTn>
                                        <p:tgtEl>
                                          <p:spTgt spid="35844"/>
                                        </p:tgtEl>
                                      </p:cBhvr>
                                      <p:to x="100000" y="90000"/>
                                    </p:animScale>
                                    <p:animScale>
                                      <p:cBhvr>
                                        <p:cTn id="18" dur="166" decel="50000">
                                          <p:stCondLst>
                                            <p:cond delay="1668"/>
                                          </p:stCondLst>
                                        </p:cTn>
                                        <p:tgtEl>
                                          <p:spTgt spid="35844"/>
                                        </p:tgtEl>
                                      </p:cBhvr>
                                      <p:to x="100000" y="100000"/>
                                    </p:animScale>
                                    <p:animScale>
                                      <p:cBhvr>
                                        <p:cTn id="19" dur="26">
                                          <p:stCondLst>
                                            <p:cond delay="1808"/>
                                          </p:stCondLst>
                                        </p:cTn>
                                        <p:tgtEl>
                                          <p:spTgt spid="35844"/>
                                        </p:tgtEl>
                                      </p:cBhvr>
                                      <p:to x="100000" y="95000"/>
                                    </p:animScale>
                                    <p:animScale>
                                      <p:cBhvr>
                                        <p:cTn id="20" dur="166" decel="50000">
                                          <p:stCondLst>
                                            <p:cond delay="1834"/>
                                          </p:stCondLst>
                                        </p:cTn>
                                        <p:tgtEl>
                                          <p:spTgt spid="35844"/>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35845"/>
                                        </p:tgtEl>
                                        <p:attrNameLst>
                                          <p:attrName>style.visibility</p:attrName>
                                        </p:attrNameLst>
                                      </p:cBhvr>
                                      <p:to>
                                        <p:strVal val="visible"/>
                                      </p:to>
                                    </p:set>
                                    <p:animEffect transition="in" filter="wipe(down)">
                                      <p:cBhvr>
                                        <p:cTn id="23" dur="580">
                                          <p:stCondLst>
                                            <p:cond delay="0"/>
                                          </p:stCondLst>
                                        </p:cTn>
                                        <p:tgtEl>
                                          <p:spTgt spid="35845"/>
                                        </p:tgtEl>
                                      </p:cBhvr>
                                    </p:animEffect>
                                    <p:anim calcmode="lin" valueType="num">
                                      <p:cBhvr>
                                        <p:cTn id="24" dur="1822" tmFilter="0,0; 0.14,0.36; 0.43,0.73; 0.71,0.91; 1.0,1.0">
                                          <p:stCondLst>
                                            <p:cond delay="0"/>
                                          </p:stCondLst>
                                        </p:cTn>
                                        <p:tgtEl>
                                          <p:spTgt spid="35845"/>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35845"/>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35845"/>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35845"/>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35845"/>
                                        </p:tgtEl>
                                        <p:attrNameLst>
                                          <p:attrName>ppt_y</p:attrName>
                                        </p:attrNameLst>
                                      </p:cBhvr>
                                      <p:tavLst>
                                        <p:tav tm="0" fmla="#ppt_y-sin(pi*$)/81">
                                          <p:val>
                                            <p:fltVal val="0"/>
                                          </p:val>
                                        </p:tav>
                                        <p:tav tm="100000">
                                          <p:val>
                                            <p:fltVal val="1"/>
                                          </p:val>
                                        </p:tav>
                                      </p:tavLst>
                                    </p:anim>
                                    <p:animScale>
                                      <p:cBhvr>
                                        <p:cTn id="29" dur="26">
                                          <p:stCondLst>
                                            <p:cond delay="650"/>
                                          </p:stCondLst>
                                        </p:cTn>
                                        <p:tgtEl>
                                          <p:spTgt spid="35845"/>
                                        </p:tgtEl>
                                      </p:cBhvr>
                                      <p:to x="100000" y="60000"/>
                                    </p:animScale>
                                    <p:animScale>
                                      <p:cBhvr>
                                        <p:cTn id="30" dur="166" decel="50000">
                                          <p:stCondLst>
                                            <p:cond delay="676"/>
                                          </p:stCondLst>
                                        </p:cTn>
                                        <p:tgtEl>
                                          <p:spTgt spid="35845"/>
                                        </p:tgtEl>
                                      </p:cBhvr>
                                      <p:to x="100000" y="100000"/>
                                    </p:animScale>
                                    <p:animScale>
                                      <p:cBhvr>
                                        <p:cTn id="31" dur="26">
                                          <p:stCondLst>
                                            <p:cond delay="1312"/>
                                          </p:stCondLst>
                                        </p:cTn>
                                        <p:tgtEl>
                                          <p:spTgt spid="35845"/>
                                        </p:tgtEl>
                                      </p:cBhvr>
                                      <p:to x="100000" y="80000"/>
                                    </p:animScale>
                                    <p:animScale>
                                      <p:cBhvr>
                                        <p:cTn id="32" dur="166" decel="50000">
                                          <p:stCondLst>
                                            <p:cond delay="1338"/>
                                          </p:stCondLst>
                                        </p:cTn>
                                        <p:tgtEl>
                                          <p:spTgt spid="35845"/>
                                        </p:tgtEl>
                                      </p:cBhvr>
                                      <p:to x="100000" y="100000"/>
                                    </p:animScale>
                                    <p:animScale>
                                      <p:cBhvr>
                                        <p:cTn id="33" dur="26">
                                          <p:stCondLst>
                                            <p:cond delay="1642"/>
                                          </p:stCondLst>
                                        </p:cTn>
                                        <p:tgtEl>
                                          <p:spTgt spid="35845"/>
                                        </p:tgtEl>
                                      </p:cBhvr>
                                      <p:to x="100000" y="90000"/>
                                    </p:animScale>
                                    <p:animScale>
                                      <p:cBhvr>
                                        <p:cTn id="34" dur="166" decel="50000">
                                          <p:stCondLst>
                                            <p:cond delay="1668"/>
                                          </p:stCondLst>
                                        </p:cTn>
                                        <p:tgtEl>
                                          <p:spTgt spid="35845"/>
                                        </p:tgtEl>
                                      </p:cBhvr>
                                      <p:to x="100000" y="100000"/>
                                    </p:animScale>
                                    <p:animScale>
                                      <p:cBhvr>
                                        <p:cTn id="35" dur="26">
                                          <p:stCondLst>
                                            <p:cond delay="1808"/>
                                          </p:stCondLst>
                                        </p:cTn>
                                        <p:tgtEl>
                                          <p:spTgt spid="35845"/>
                                        </p:tgtEl>
                                      </p:cBhvr>
                                      <p:to x="100000" y="95000"/>
                                    </p:animScale>
                                    <p:animScale>
                                      <p:cBhvr>
                                        <p:cTn id="36" dur="166" decel="50000">
                                          <p:stCondLst>
                                            <p:cond delay="1834"/>
                                          </p:stCondLst>
                                        </p:cTn>
                                        <p:tgtEl>
                                          <p:spTgt spid="35845"/>
                                        </p:tgtEl>
                                      </p:cBhvr>
                                      <p:to x="100000" y="100000"/>
                                    </p:animScale>
                                  </p:childTnLst>
                                </p:cTn>
                              </p:par>
                              <p:par>
                                <p:cTn id="37" presetID="26" presetClass="entr" presetSubtype="0" fill="hold" nodeType="withEffect">
                                  <p:stCondLst>
                                    <p:cond delay="0"/>
                                  </p:stCondLst>
                                  <p:childTnLst>
                                    <p:set>
                                      <p:cBhvr>
                                        <p:cTn id="38" dur="1" fill="hold">
                                          <p:stCondLst>
                                            <p:cond delay="0"/>
                                          </p:stCondLst>
                                        </p:cTn>
                                        <p:tgtEl>
                                          <p:spTgt spid="35847"/>
                                        </p:tgtEl>
                                        <p:attrNameLst>
                                          <p:attrName>style.visibility</p:attrName>
                                        </p:attrNameLst>
                                      </p:cBhvr>
                                      <p:to>
                                        <p:strVal val="visible"/>
                                      </p:to>
                                    </p:set>
                                    <p:animEffect transition="in" filter="wipe(down)">
                                      <p:cBhvr>
                                        <p:cTn id="39" dur="580">
                                          <p:stCondLst>
                                            <p:cond delay="0"/>
                                          </p:stCondLst>
                                        </p:cTn>
                                        <p:tgtEl>
                                          <p:spTgt spid="35847"/>
                                        </p:tgtEl>
                                      </p:cBhvr>
                                    </p:animEffect>
                                    <p:anim calcmode="lin" valueType="num">
                                      <p:cBhvr>
                                        <p:cTn id="40" dur="1822" tmFilter="0,0; 0.14,0.36; 0.43,0.73; 0.71,0.91; 1.0,1.0">
                                          <p:stCondLst>
                                            <p:cond delay="0"/>
                                          </p:stCondLst>
                                        </p:cTn>
                                        <p:tgtEl>
                                          <p:spTgt spid="35847"/>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35847"/>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35847"/>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35847"/>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35847"/>
                                        </p:tgtEl>
                                        <p:attrNameLst>
                                          <p:attrName>ppt_y</p:attrName>
                                        </p:attrNameLst>
                                      </p:cBhvr>
                                      <p:tavLst>
                                        <p:tav tm="0" fmla="#ppt_y-sin(pi*$)/81">
                                          <p:val>
                                            <p:fltVal val="0"/>
                                          </p:val>
                                        </p:tav>
                                        <p:tav tm="100000">
                                          <p:val>
                                            <p:fltVal val="1"/>
                                          </p:val>
                                        </p:tav>
                                      </p:tavLst>
                                    </p:anim>
                                    <p:animScale>
                                      <p:cBhvr>
                                        <p:cTn id="45" dur="26">
                                          <p:stCondLst>
                                            <p:cond delay="650"/>
                                          </p:stCondLst>
                                        </p:cTn>
                                        <p:tgtEl>
                                          <p:spTgt spid="35847"/>
                                        </p:tgtEl>
                                      </p:cBhvr>
                                      <p:to x="100000" y="60000"/>
                                    </p:animScale>
                                    <p:animScale>
                                      <p:cBhvr>
                                        <p:cTn id="46" dur="166" decel="50000">
                                          <p:stCondLst>
                                            <p:cond delay="676"/>
                                          </p:stCondLst>
                                        </p:cTn>
                                        <p:tgtEl>
                                          <p:spTgt spid="35847"/>
                                        </p:tgtEl>
                                      </p:cBhvr>
                                      <p:to x="100000" y="100000"/>
                                    </p:animScale>
                                    <p:animScale>
                                      <p:cBhvr>
                                        <p:cTn id="47" dur="26">
                                          <p:stCondLst>
                                            <p:cond delay="1312"/>
                                          </p:stCondLst>
                                        </p:cTn>
                                        <p:tgtEl>
                                          <p:spTgt spid="35847"/>
                                        </p:tgtEl>
                                      </p:cBhvr>
                                      <p:to x="100000" y="80000"/>
                                    </p:animScale>
                                    <p:animScale>
                                      <p:cBhvr>
                                        <p:cTn id="48" dur="166" decel="50000">
                                          <p:stCondLst>
                                            <p:cond delay="1338"/>
                                          </p:stCondLst>
                                        </p:cTn>
                                        <p:tgtEl>
                                          <p:spTgt spid="35847"/>
                                        </p:tgtEl>
                                      </p:cBhvr>
                                      <p:to x="100000" y="100000"/>
                                    </p:animScale>
                                    <p:animScale>
                                      <p:cBhvr>
                                        <p:cTn id="49" dur="26">
                                          <p:stCondLst>
                                            <p:cond delay="1642"/>
                                          </p:stCondLst>
                                        </p:cTn>
                                        <p:tgtEl>
                                          <p:spTgt spid="35847"/>
                                        </p:tgtEl>
                                      </p:cBhvr>
                                      <p:to x="100000" y="90000"/>
                                    </p:animScale>
                                    <p:animScale>
                                      <p:cBhvr>
                                        <p:cTn id="50" dur="166" decel="50000">
                                          <p:stCondLst>
                                            <p:cond delay="1668"/>
                                          </p:stCondLst>
                                        </p:cTn>
                                        <p:tgtEl>
                                          <p:spTgt spid="35847"/>
                                        </p:tgtEl>
                                      </p:cBhvr>
                                      <p:to x="100000" y="100000"/>
                                    </p:animScale>
                                    <p:animScale>
                                      <p:cBhvr>
                                        <p:cTn id="51" dur="26">
                                          <p:stCondLst>
                                            <p:cond delay="1808"/>
                                          </p:stCondLst>
                                        </p:cTn>
                                        <p:tgtEl>
                                          <p:spTgt spid="35847"/>
                                        </p:tgtEl>
                                      </p:cBhvr>
                                      <p:to x="100000" y="95000"/>
                                    </p:animScale>
                                    <p:animScale>
                                      <p:cBhvr>
                                        <p:cTn id="52" dur="166" decel="50000">
                                          <p:stCondLst>
                                            <p:cond delay="1834"/>
                                          </p:stCondLst>
                                        </p:cTn>
                                        <p:tgtEl>
                                          <p:spTgt spid="3584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4" grpId="0"/>
      <p:bldP spid="3584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QQ截图20240314091109"/>
          <p:cNvPicPr/>
          <p:nvPr/>
        </p:nvPicPr>
        <p:blipFill>
          <a:blip r:embed="rId1"/>
          <a:stretch>
            <a:fillRect/>
          </a:stretch>
        </p:blipFill>
        <p:spPr>
          <a:xfrm>
            <a:off x="0" y="1176020"/>
            <a:ext cx="9144000" cy="5665470"/>
          </a:xfrm>
          <a:prstGeom prst="rect">
            <a:avLst/>
          </a:prstGeom>
        </p:spPr>
      </p:pic>
      <p:sp>
        <p:nvSpPr>
          <p:cNvPr id="36867"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6868" name="TextBox 6"/>
          <p:cNvSpPr txBox="1">
            <a:spLocks noChangeArrowheads="1"/>
          </p:cNvSpPr>
          <p:nvPr/>
        </p:nvSpPr>
        <p:spPr bwMode="auto">
          <a:xfrm>
            <a:off x="4067493" y="1484630"/>
            <a:ext cx="4802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可按照自身需求拖拽起止年度不规则时间定义</a:t>
            </a:r>
            <a:endParaRPr lang="zh-CN" altLang="en-US">
              <a:solidFill>
                <a:srgbClr val="FF0000"/>
              </a:solidFill>
              <a:ea typeface="宋体" panose="02010600030101010101" pitchFamily="2" charset="-122"/>
            </a:endParaRPr>
          </a:p>
        </p:txBody>
      </p:sp>
      <p:cxnSp>
        <p:nvCxnSpPr>
          <p:cNvPr id="36869" name="直接箭头连接符 5"/>
          <p:cNvCxnSpPr>
            <a:cxnSpLocks noChangeShapeType="1"/>
            <a:stCxn id="36868" idx="1"/>
          </p:cNvCxnSpPr>
          <p:nvPr/>
        </p:nvCxnSpPr>
        <p:spPr bwMode="auto">
          <a:xfrm flipH="1">
            <a:off x="2483485" y="1670050"/>
            <a:ext cx="1584325" cy="291147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pic>
        <p:nvPicPr>
          <p:cNvPr id="8" name="图片 7"/>
          <p:cNvPicPr>
            <a:picLocks noChangeAspect="1"/>
          </p:cNvPicPr>
          <p:nvPr/>
        </p:nvPicPr>
        <p:blipFill>
          <a:blip r:embed="rId2"/>
          <a:stretch>
            <a:fillRect/>
          </a:stretch>
        </p:blipFill>
        <p:spPr>
          <a:xfrm>
            <a:off x="3923665" y="2997200"/>
            <a:ext cx="5181600" cy="3086100"/>
          </a:xfrm>
          <a:prstGeom prst="rect">
            <a:avLst/>
          </a:prstGeom>
        </p:spPr>
      </p:pic>
      <p:cxnSp>
        <p:nvCxnSpPr>
          <p:cNvPr id="36870" name="直接箭头连接符 5"/>
          <p:cNvCxnSpPr>
            <a:cxnSpLocks noChangeShapeType="1"/>
          </p:cNvCxnSpPr>
          <p:nvPr/>
        </p:nvCxnSpPr>
        <p:spPr bwMode="auto">
          <a:xfrm flipH="1">
            <a:off x="2771775" y="4581525"/>
            <a:ext cx="2736215" cy="8636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pic>
        <p:nvPicPr>
          <p:cNvPr id="6" name="图片 5"/>
          <p:cNvPicPr>
            <a:picLocks noChangeAspect="1"/>
          </p:cNvPicPr>
          <p:nvPr/>
        </p:nvPicPr>
        <p:blipFill>
          <a:blip r:embed="rId3"/>
          <a:stretch>
            <a:fillRect/>
          </a:stretch>
        </p:blipFill>
        <p:spPr>
          <a:xfrm>
            <a:off x="6083935" y="1854835"/>
            <a:ext cx="26289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6868"/>
                                        </p:tgtEl>
                                        <p:attrNameLst>
                                          <p:attrName>style.visibility</p:attrName>
                                        </p:attrNameLst>
                                      </p:cBhvr>
                                      <p:to>
                                        <p:strVal val="visible"/>
                                      </p:to>
                                    </p:set>
                                    <p:animEffect transition="in" filter="wipe(down)">
                                      <p:cBhvr>
                                        <p:cTn id="7" dur="290">
                                          <p:stCondLst>
                                            <p:cond delay="0"/>
                                          </p:stCondLst>
                                        </p:cTn>
                                        <p:tgtEl>
                                          <p:spTgt spid="36868"/>
                                        </p:tgtEl>
                                      </p:cBhvr>
                                    </p:animEffect>
                                    <p:anim calcmode="lin" valueType="num">
                                      <p:cBhvr>
                                        <p:cTn id="8" dur="911" tmFilter="0,0; 0.14,0.36; 0.43,0.73; 0.71,0.91; 1.0,1.0">
                                          <p:stCondLst>
                                            <p:cond delay="0"/>
                                          </p:stCondLst>
                                        </p:cTn>
                                        <p:tgtEl>
                                          <p:spTgt spid="36868"/>
                                        </p:tgtEl>
                                        <p:attrNameLst>
                                          <p:attrName>ppt_x</p:attrName>
                                        </p:attrNameLst>
                                      </p:cBhvr>
                                      <p:tavLst>
                                        <p:tav tm="0">
                                          <p:val>
                                            <p:strVal val="#ppt_x-0.25"/>
                                          </p:val>
                                        </p:tav>
                                        <p:tav tm="100000">
                                          <p:val>
                                            <p:strVal val="#ppt_x"/>
                                          </p:val>
                                        </p:tav>
                                      </p:tavLst>
                                    </p:anim>
                                    <p:anim calcmode="lin" valueType="num">
                                      <p:cBhvr>
                                        <p:cTn id="9" dur="332" tmFilter="0.0,0.0; 0.25,0.07; 0.50,0.2; 0.75,0.467; 1.0,1.0">
                                          <p:stCondLst>
                                            <p:cond delay="0"/>
                                          </p:stCondLst>
                                        </p:cTn>
                                        <p:tgtEl>
                                          <p:spTgt spid="36868"/>
                                        </p:tgtEl>
                                        <p:attrNameLst>
                                          <p:attrName>ppt_y</p:attrName>
                                        </p:attrNameLst>
                                      </p:cBhvr>
                                      <p:tavLst>
                                        <p:tav tm="0" fmla="#ppt_y-sin(pi*$)/3">
                                          <p:val>
                                            <p:fltVal val="0.5"/>
                                          </p:val>
                                        </p:tav>
                                        <p:tav tm="100000">
                                          <p:val>
                                            <p:fltVal val="1"/>
                                          </p:val>
                                        </p:tav>
                                      </p:tavLst>
                                    </p:anim>
                                    <p:anim calcmode="lin" valueType="num">
                                      <p:cBhvr>
                                        <p:cTn id="10" dur="332" tmFilter="0, 0; 0.125,0.2665; 0.25,0.4; 0.375,0.465; 0.5,0.5;  0.625,0.535; 0.75,0.6; 0.875,0.7335; 1,1">
                                          <p:stCondLst>
                                            <p:cond delay="332"/>
                                          </p:stCondLst>
                                        </p:cTn>
                                        <p:tgtEl>
                                          <p:spTgt spid="36868"/>
                                        </p:tgtEl>
                                        <p:attrNameLst>
                                          <p:attrName>ppt_y</p:attrName>
                                        </p:attrNameLst>
                                      </p:cBhvr>
                                      <p:tavLst>
                                        <p:tav tm="0" fmla="#ppt_y-sin(pi*$)/9">
                                          <p:val>
                                            <p:fltVal val="0"/>
                                          </p:val>
                                        </p:tav>
                                        <p:tav tm="100000">
                                          <p:val>
                                            <p:fltVal val="1"/>
                                          </p:val>
                                        </p:tav>
                                      </p:tavLst>
                                    </p:anim>
                                    <p:anim calcmode="lin" valueType="num">
                                      <p:cBhvr>
                                        <p:cTn id="11" dur="166" tmFilter="0, 0; 0.125,0.2665; 0.25,0.4; 0.375,0.465; 0.5,0.5;  0.625,0.535; 0.75,0.6; 0.875,0.7335; 1,1">
                                          <p:stCondLst>
                                            <p:cond delay="662"/>
                                          </p:stCondLst>
                                        </p:cTn>
                                        <p:tgtEl>
                                          <p:spTgt spid="36868"/>
                                        </p:tgtEl>
                                        <p:attrNameLst>
                                          <p:attrName>ppt_y</p:attrName>
                                        </p:attrNameLst>
                                      </p:cBhvr>
                                      <p:tavLst>
                                        <p:tav tm="0" fmla="#ppt_y-sin(pi*$)/27">
                                          <p:val>
                                            <p:fltVal val="0"/>
                                          </p:val>
                                        </p:tav>
                                        <p:tav tm="100000">
                                          <p:val>
                                            <p:fltVal val="1"/>
                                          </p:val>
                                        </p:tav>
                                      </p:tavLst>
                                    </p:anim>
                                    <p:anim calcmode="lin" valueType="num">
                                      <p:cBhvr>
                                        <p:cTn id="12" dur="82" tmFilter="0, 0; 0.125,0.2665; 0.25,0.4; 0.375,0.465; 0.5,0.5;  0.625,0.535; 0.75,0.6; 0.875,0.7335; 1,1">
                                          <p:stCondLst>
                                            <p:cond delay="828"/>
                                          </p:stCondLst>
                                        </p:cTn>
                                        <p:tgtEl>
                                          <p:spTgt spid="36868"/>
                                        </p:tgtEl>
                                        <p:attrNameLst>
                                          <p:attrName>ppt_y</p:attrName>
                                        </p:attrNameLst>
                                      </p:cBhvr>
                                      <p:tavLst>
                                        <p:tav tm="0" fmla="#ppt_y-sin(pi*$)/81">
                                          <p:val>
                                            <p:fltVal val="0"/>
                                          </p:val>
                                        </p:tav>
                                        <p:tav tm="100000">
                                          <p:val>
                                            <p:fltVal val="1"/>
                                          </p:val>
                                        </p:tav>
                                      </p:tavLst>
                                    </p:anim>
                                    <p:animScale>
                                      <p:cBhvr>
                                        <p:cTn id="13" dur="13">
                                          <p:stCondLst>
                                            <p:cond delay="325"/>
                                          </p:stCondLst>
                                        </p:cTn>
                                        <p:tgtEl>
                                          <p:spTgt spid="36868"/>
                                        </p:tgtEl>
                                      </p:cBhvr>
                                      <p:to x="100000" y="60000"/>
                                    </p:animScale>
                                    <p:animScale>
                                      <p:cBhvr>
                                        <p:cTn id="14" dur="83" decel="50000">
                                          <p:stCondLst>
                                            <p:cond delay="338"/>
                                          </p:stCondLst>
                                        </p:cTn>
                                        <p:tgtEl>
                                          <p:spTgt spid="36868"/>
                                        </p:tgtEl>
                                      </p:cBhvr>
                                      <p:to x="100000" y="100000"/>
                                    </p:animScale>
                                    <p:animScale>
                                      <p:cBhvr>
                                        <p:cTn id="15" dur="13">
                                          <p:stCondLst>
                                            <p:cond delay="656"/>
                                          </p:stCondLst>
                                        </p:cTn>
                                        <p:tgtEl>
                                          <p:spTgt spid="36868"/>
                                        </p:tgtEl>
                                      </p:cBhvr>
                                      <p:to x="100000" y="80000"/>
                                    </p:animScale>
                                    <p:animScale>
                                      <p:cBhvr>
                                        <p:cTn id="16" dur="83" decel="50000">
                                          <p:stCondLst>
                                            <p:cond delay="669"/>
                                          </p:stCondLst>
                                        </p:cTn>
                                        <p:tgtEl>
                                          <p:spTgt spid="36868"/>
                                        </p:tgtEl>
                                      </p:cBhvr>
                                      <p:to x="100000" y="100000"/>
                                    </p:animScale>
                                    <p:animScale>
                                      <p:cBhvr>
                                        <p:cTn id="17" dur="13">
                                          <p:stCondLst>
                                            <p:cond delay="821"/>
                                          </p:stCondLst>
                                        </p:cTn>
                                        <p:tgtEl>
                                          <p:spTgt spid="36868"/>
                                        </p:tgtEl>
                                      </p:cBhvr>
                                      <p:to x="100000" y="90000"/>
                                    </p:animScale>
                                    <p:animScale>
                                      <p:cBhvr>
                                        <p:cTn id="18" dur="83" decel="50000">
                                          <p:stCondLst>
                                            <p:cond delay="834"/>
                                          </p:stCondLst>
                                        </p:cTn>
                                        <p:tgtEl>
                                          <p:spTgt spid="36868"/>
                                        </p:tgtEl>
                                      </p:cBhvr>
                                      <p:to x="100000" y="100000"/>
                                    </p:animScale>
                                    <p:animScale>
                                      <p:cBhvr>
                                        <p:cTn id="19" dur="13">
                                          <p:stCondLst>
                                            <p:cond delay="904"/>
                                          </p:stCondLst>
                                        </p:cTn>
                                        <p:tgtEl>
                                          <p:spTgt spid="36868"/>
                                        </p:tgtEl>
                                      </p:cBhvr>
                                      <p:to x="100000" y="95000"/>
                                    </p:animScale>
                                    <p:animScale>
                                      <p:cBhvr>
                                        <p:cTn id="20" dur="83" decel="50000">
                                          <p:stCondLst>
                                            <p:cond delay="917"/>
                                          </p:stCondLst>
                                        </p:cTn>
                                        <p:tgtEl>
                                          <p:spTgt spid="36868"/>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36869"/>
                                        </p:tgtEl>
                                        <p:attrNameLst>
                                          <p:attrName>style.visibility</p:attrName>
                                        </p:attrNameLst>
                                      </p:cBhvr>
                                      <p:to>
                                        <p:strVal val="visible"/>
                                      </p:to>
                                    </p:set>
                                    <p:animEffect transition="in" filter="wipe(down)">
                                      <p:cBhvr>
                                        <p:cTn id="23" dur="290">
                                          <p:stCondLst>
                                            <p:cond delay="0"/>
                                          </p:stCondLst>
                                        </p:cTn>
                                        <p:tgtEl>
                                          <p:spTgt spid="36869"/>
                                        </p:tgtEl>
                                      </p:cBhvr>
                                    </p:animEffect>
                                    <p:anim calcmode="lin" valueType="num">
                                      <p:cBhvr>
                                        <p:cTn id="24" dur="911" tmFilter="0,0; 0.14,0.36; 0.43,0.73; 0.71,0.91; 1.0,1.0">
                                          <p:stCondLst>
                                            <p:cond delay="0"/>
                                          </p:stCondLst>
                                        </p:cTn>
                                        <p:tgtEl>
                                          <p:spTgt spid="36869"/>
                                        </p:tgtEl>
                                        <p:attrNameLst>
                                          <p:attrName>ppt_x</p:attrName>
                                        </p:attrNameLst>
                                      </p:cBhvr>
                                      <p:tavLst>
                                        <p:tav tm="0">
                                          <p:val>
                                            <p:strVal val="#ppt_x-0.25"/>
                                          </p:val>
                                        </p:tav>
                                        <p:tav tm="100000">
                                          <p:val>
                                            <p:strVal val="#ppt_x"/>
                                          </p:val>
                                        </p:tav>
                                      </p:tavLst>
                                    </p:anim>
                                    <p:anim calcmode="lin" valueType="num">
                                      <p:cBhvr>
                                        <p:cTn id="25" dur="332" tmFilter="0.0,0.0; 0.25,0.07; 0.50,0.2; 0.75,0.467; 1.0,1.0">
                                          <p:stCondLst>
                                            <p:cond delay="0"/>
                                          </p:stCondLst>
                                        </p:cTn>
                                        <p:tgtEl>
                                          <p:spTgt spid="36869"/>
                                        </p:tgtEl>
                                        <p:attrNameLst>
                                          <p:attrName>ppt_y</p:attrName>
                                        </p:attrNameLst>
                                      </p:cBhvr>
                                      <p:tavLst>
                                        <p:tav tm="0" fmla="#ppt_y-sin(pi*$)/3">
                                          <p:val>
                                            <p:fltVal val="0.5"/>
                                          </p:val>
                                        </p:tav>
                                        <p:tav tm="100000">
                                          <p:val>
                                            <p:fltVal val="1"/>
                                          </p:val>
                                        </p:tav>
                                      </p:tavLst>
                                    </p:anim>
                                    <p:anim calcmode="lin" valueType="num">
                                      <p:cBhvr>
                                        <p:cTn id="26" dur="332" tmFilter="0, 0; 0.125,0.2665; 0.25,0.4; 0.375,0.465; 0.5,0.5;  0.625,0.535; 0.75,0.6; 0.875,0.7335; 1,1">
                                          <p:stCondLst>
                                            <p:cond delay="332"/>
                                          </p:stCondLst>
                                        </p:cTn>
                                        <p:tgtEl>
                                          <p:spTgt spid="36869"/>
                                        </p:tgtEl>
                                        <p:attrNameLst>
                                          <p:attrName>ppt_y</p:attrName>
                                        </p:attrNameLst>
                                      </p:cBhvr>
                                      <p:tavLst>
                                        <p:tav tm="0" fmla="#ppt_y-sin(pi*$)/9">
                                          <p:val>
                                            <p:fltVal val="0"/>
                                          </p:val>
                                        </p:tav>
                                        <p:tav tm="100000">
                                          <p:val>
                                            <p:fltVal val="1"/>
                                          </p:val>
                                        </p:tav>
                                      </p:tavLst>
                                    </p:anim>
                                    <p:anim calcmode="lin" valueType="num">
                                      <p:cBhvr>
                                        <p:cTn id="27" dur="166" tmFilter="0, 0; 0.125,0.2665; 0.25,0.4; 0.375,0.465; 0.5,0.5;  0.625,0.535; 0.75,0.6; 0.875,0.7335; 1,1">
                                          <p:stCondLst>
                                            <p:cond delay="662"/>
                                          </p:stCondLst>
                                        </p:cTn>
                                        <p:tgtEl>
                                          <p:spTgt spid="36869"/>
                                        </p:tgtEl>
                                        <p:attrNameLst>
                                          <p:attrName>ppt_y</p:attrName>
                                        </p:attrNameLst>
                                      </p:cBhvr>
                                      <p:tavLst>
                                        <p:tav tm="0" fmla="#ppt_y-sin(pi*$)/27">
                                          <p:val>
                                            <p:fltVal val="0"/>
                                          </p:val>
                                        </p:tav>
                                        <p:tav tm="100000">
                                          <p:val>
                                            <p:fltVal val="1"/>
                                          </p:val>
                                        </p:tav>
                                      </p:tavLst>
                                    </p:anim>
                                    <p:anim calcmode="lin" valueType="num">
                                      <p:cBhvr>
                                        <p:cTn id="28" dur="82" tmFilter="0, 0; 0.125,0.2665; 0.25,0.4; 0.375,0.465; 0.5,0.5;  0.625,0.535; 0.75,0.6; 0.875,0.7335; 1,1">
                                          <p:stCondLst>
                                            <p:cond delay="828"/>
                                          </p:stCondLst>
                                        </p:cTn>
                                        <p:tgtEl>
                                          <p:spTgt spid="36869"/>
                                        </p:tgtEl>
                                        <p:attrNameLst>
                                          <p:attrName>ppt_y</p:attrName>
                                        </p:attrNameLst>
                                      </p:cBhvr>
                                      <p:tavLst>
                                        <p:tav tm="0" fmla="#ppt_y-sin(pi*$)/81">
                                          <p:val>
                                            <p:fltVal val="0"/>
                                          </p:val>
                                        </p:tav>
                                        <p:tav tm="100000">
                                          <p:val>
                                            <p:fltVal val="1"/>
                                          </p:val>
                                        </p:tav>
                                      </p:tavLst>
                                    </p:anim>
                                    <p:animScale>
                                      <p:cBhvr>
                                        <p:cTn id="29" dur="13">
                                          <p:stCondLst>
                                            <p:cond delay="325"/>
                                          </p:stCondLst>
                                        </p:cTn>
                                        <p:tgtEl>
                                          <p:spTgt spid="36869"/>
                                        </p:tgtEl>
                                      </p:cBhvr>
                                      <p:to x="100000" y="60000"/>
                                    </p:animScale>
                                    <p:animScale>
                                      <p:cBhvr>
                                        <p:cTn id="30" dur="83" decel="50000">
                                          <p:stCondLst>
                                            <p:cond delay="338"/>
                                          </p:stCondLst>
                                        </p:cTn>
                                        <p:tgtEl>
                                          <p:spTgt spid="36869"/>
                                        </p:tgtEl>
                                      </p:cBhvr>
                                      <p:to x="100000" y="100000"/>
                                    </p:animScale>
                                    <p:animScale>
                                      <p:cBhvr>
                                        <p:cTn id="31" dur="13">
                                          <p:stCondLst>
                                            <p:cond delay="656"/>
                                          </p:stCondLst>
                                        </p:cTn>
                                        <p:tgtEl>
                                          <p:spTgt spid="36869"/>
                                        </p:tgtEl>
                                      </p:cBhvr>
                                      <p:to x="100000" y="80000"/>
                                    </p:animScale>
                                    <p:animScale>
                                      <p:cBhvr>
                                        <p:cTn id="32" dur="83" decel="50000">
                                          <p:stCondLst>
                                            <p:cond delay="669"/>
                                          </p:stCondLst>
                                        </p:cTn>
                                        <p:tgtEl>
                                          <p:spTgt spid="36869"/>
                                        </p:tgtEl>
                                      </p:cBhvr>
                                      <p:to x="100000" y="100000"/>
                                    </p:animScale>
                                    <p:animScale>
                                      <p:cBhvr>
                                        <p:cTn id="33" dur="13">
                                          <p:stCondLst>
                                            <p:cond delay="821"/>
                                          </p:stCondLst>
                                        </p:cTn>
                                        <p:tgtEl>
                                          <p:spTgt spid="36869"/>
                                        </p:tgtEl>
                                      </p:cBhvr>
                                      <p:to x="100000" y="90000"/>
                                    </p:animScale>
                                    <p:animScale>
                                      <p:cBhvr>
                                        <p:cTn id="34" dur="83" decel="50000">
                                          <p:stCondLst>
                                            <p:cond delay="834"/>
                                          </p:stCondLst>
                                        </p:cTn>
                                        <p:tgtEl>
                                          <p:spTgt spid="36869"/>
                                        </p:tgtEl>
                                      </p:cBhvr>
                                      <p:to x="100000" y="100000"/>
                                    </p:animScale>
                                    <p:animScale>
                                      <p:cBhvr>
                                        <p:cTn id="35" dur="13">
                                          <p:stCondLst>
                                            <p:cond delay="904"/>
                                          </p:stCondLst>
                                        </p:cTn>
                                        <p:tgtEl>
                                          <p:spTgt spid="36869"/>
                                        </p:tgtEl>
                                      </p:cBhvr>
                                      <p:to x="100000" y="95000"/>
                                    </p:animScale>
                                    <p:animScale>
                                      <p:cBhvr>
                                        <p:cTn id="36" dur="83" decel="50000">
                                          <p:stCondLst>
                                            <p:cond delay="917"/>
                                          </p:stCondLst>
                                        </p:cTn>
                                        <p:tgtEl>
                                          <p:spTgt spid="36869"/>
                                        </p:tgtEl>
                                      </p:cBhvr>
                                      <p:to x="100000" y="100000"/>
                                    </p:animScale>
                                  </p:childTnLst>
                                </p:cTn>
                              </p:par>
                            </p:childTnLst>
                          </p:cTn>
                        </p:par>
                      </p:childTnLst>
                    </p:cTn>
                  </p:par>
                  <p:par>
                    <p:cTn id="37" fill="hold">
                      <p:stCondLst>
                        <p:cond delay="indefinite"/>
                      </p:stCondLst>
                      <p:childTnLst>
                        <p:par>
                          <p:cTn id="38" fill="hold">
                            <p:stCondLst>
                              <p:cond delay="0"/>
                            </p:stCondLst>
                            <p:childTnLst>
                              <p:par>
                                <p:cTn id="39" presetID="18" presetClass="entr" presetSubtype="12" fill="hold" nodeType="clickEffect">
                                  <p:stCondLst>
                                    <p:cond delay="0"/>
                                  </p:stCondLst>
                                  <p:childTnLst>
                                    <p:set>
                                      <p:cBhvr>
                                        <p:cTn id="40" dur="1" fill="hold">
                                          <p:stCondLst>
                                            <p:cond delay="0"/>
                                          </p:stCondLst>
                                        </p:cTn>
                                        <p:tgtEl>
                                          <p:spTgt spid="36870"/>
                                        </p:tgtEl>
                                        <p:attrNameLst>
                                          <p:attrName>style.visibility</p:attrName>
                                        </p:attrNameLst>
                                      </p:cBhvr>
                                      <p:to>
                                        <p:strVal val="visible"/>
                                      </p:to>
                                    </p:set>
                                    <p:animEffect transition="in" filter="strips(downLeft)">
                                      <p:cBhvr>
                                        <p:cTn id="41" dur="500"/>
                                        <p:tgtEl>
                                          <p:spTgt spid="368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8" grpId="0"/>
      <p:bldP spid="36868"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p:nvPr/>
        </p:nvPicPr>
        <p:blipFill>
          <a:blip r:embed="rId1"/>
          <a:stretch>
            <a:fillRect/>
          </a:stretch>
        </p:blipFill>
        <p:spPr>
          <a:xfrm>
            <a:off x="635" y="1208405"/>
            <a:ext cx="9143365" cy="5649595"/>
          </a:xfrm>
          <a:prstGeom prst="rect">
            <a:avLst/>
          </a:prstGeom>
        </p:spPr>
      </p:pic>
      <p:sp>
        <p:nvSpPr>
          <p:cNvPr id="37891"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7892" name="TextBox 6"/>
          <p:cNvSpPr txBox="1">
            <a:spLocks noChangeArrowheads="1"/>
          </p:cNvSpPr>
          <p:nvPr/>
        </p:nvSpPr>
        <p:spPr bwMode="auto">
          <a:xfrm>
            <a:off x="3060065" y="4941570"/>
            <a:ext cx="24923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庞大结果下的学科筛选</a:t>
            </a:r>
            <a:endParaRPr lang="zh-CN" altLang="en-US">
              <a:solidFill>
                <a:srgbClr val="FF0000"/>
              </a:solidFill>
              <a:ea typeface="宋体" panose="02010600030101010101" pitchFamily="2" charset="-122"/>
            </a:endParaRPr>
          </a:p>
        </p:txBody>
      </p:sp>
      <p:cxnSp>
        <p:nvCxnSpPr>
          <p:cNvPr id="37893" name="直接箭头连接符 5"/>
          <p:cNvCxnSpPr>
            <a:cxnSpLocks noChangeShapeType="1"/>
          </p:cNvCxnSpPr>
          <p:nvPr/>
        </p:nvCxnSpPr>
        <p:spPr bwMode="auto">
          <a:xfrm flipH="1" flipV="1">
            <a:off x="1619885" y="2708910"/>
            <a:ext cx="1440180" cy="230441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 name="文本框 3"/>
          <p:cNvSpPr txBox="1"/>
          <p:nvPr/>
        </p:nvSpPr>
        <p:spPr>
          <a:xfrm>
            <a:off x="3996055" y="2061210"/>
            <a:ext cx="2244090" cy="3140075"/>
          </a:xfrm>
          <a:prstGeom prst="rect">
            <a:avLst/>
          </a:prstGeom>
          <a:noFill/>
        </p:spPr>
        <p:txBody>
          <a:bodyPr wrap="square" rtlCol="0">
            <a:noAutofit/>
          </a:bodyPr>
          <a:p>
            <a:pPr marL="0" indent="0" latinLnBrk="0">
              <a:lnSpc>
                <a:spcPts val="1850"/>
              </a:lnSpc>
            </a:pPr>
            <a:r>
              <a:rPr lang="zh-CN" altLang="en-US" sz="1600">
                <a:ln w="9525" cmpd="sng">
                  <a:solidFill>
                    <a:srgbClr val="FF0000"/>
                  </a:solidFill>
                  <a:prstDash val="solid"/>
                </a:ln>
                <a:solidFill>
                  <a:srgbClr val="70AD47">
                    <a:tint val="1000"/>
                  </a:srgbClr>
                </a:solidFill>
                <a:effectLst/>
              </a:rPr>
              <a:t>人工智能</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计算机科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计算机工程</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电气工程</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机器人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信息技术</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工程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机械工程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统计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神经科学</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交通运输</a:t>
            </a:r>
            <a:endParaRPr lang="zh-CN" altLang="en-US" sz="1600">
              <a:ln w="9525" cmpd="sng">
                <a:solidFill>
                  <a:srgbClr val="FF0000"/>
                </a:solidFill>
                <a:prstDash val="solid"/>
              </a:ln>
              <a:solidFill>
                <a:srgbClr val="70AD47">
                  <a:tint val="1000"/>
                </a:srgbClr>
              </a:solidFill>
              <a:effectLst/>
            </a:endParaRPr>
          </a:p>
          <a:p>
            <a:pPr marL="0" indent="0" latinLnBrk="0">
              <a:lnSpc>
                <a:spcPts val="1850"/>
              </a:lnSpc>
            </a:pPr>
            <a:r>
              <a:rPr lang="zh-CN" altLang="en-US" sz="1600">
                <a:ln w="9525" cmpd="sng">
                  <a:solidFill>
                    <a:srgbClr val="FF0000"/>
                  </a:solidFill>
                  <a:prstDash val="solid"/>
                </a:ln>
                <a:solidFill>
                  <a:srgbClr val="70AD47">
                    <a:tint val="1000"/>
                  </a:srgbClr>
                </a:solidFill>
                <a:effectLst/>
              </a:rPr>
              <a:t>信息科学</a:t>
            </a:r>
            <a:endParaRPr lang="zh-CN" altLang="en-US" sz="1600">
              <a:ln w="9525" cmpd="sng">
                <a:solidFill>
                  <a:srgbClr val="FF0000"/>
                </a:solidFill>
                <a:prstDash val="solid"/>
              </a:ln>
              <a:solidFill>
                <a:srgbClr val="70AD47">
                  <a:tint val="1000"/>
                </a:srgbClr>
              </a:solidFill>
              <a:effectLst/>
            </a:endParaRPr>
          </a:p>
        </p:txBody>
      </p:sp>
      <p:cxnSp>
        <p:nvCxnSpPr>
          <p:cNvPr id="29711" name="直接箭头连接符 9"/>
          <p:cNvCxnSpPr>
            <a:cxnSpLocks noChangeShapeType="1"/>
          </p:cNvCxnSpPr>
          <p:nvPr>
            <p:custDataLst>
              <p:tags r:id="rId2"/>
            </p:custDataLst>
          </p:nvPr>
        </p:nvCxnSpPr>
        <p:spPr bwMode="auto">
          <a:xfrm>
            <a:off x="5796280" y="2132965"/>
            <a:ext cx="0" cy="273685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20320" y="1171575"/>
            <a:ext cx="9123680" cy="5713095"/>
          </a:xfrm>
          <a:prstGeom prst="rect">
            <a:avLst/>
          </a:prstGeom>
        </p:spPr>
      </p:pic>
      <p:sp>
        <p:nvSpPr>
          <p:cNvPr id="38915"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8916" name="TextBox 6"/>
          <p:cNvSpPr txBox="1">
            <a:spLocks noChangeArrowheads="1"/>
          </p:cNvSpPr>
          <p:nvPr/>
        </p:nvSpPr>
        <p:spPr bwMode="auto">
          <a:xfrm>
            <a:off x="3708083" y="5445125"/>
            <a:ext cx="180848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sz="1600">
                <a:ln w="9525" cmpd="sng">
                  <a:solidFill>
                    <a:srgbClr val="FF0000"/>
                  </a:solidFill>
                  <a:prstDash val="solid"/>
                </a:ln>
                <a:solidFill>
                  <a:srgbClr val="70AD47">
                    <a:tint val="1000"/>
                  </a:srgbClr>
                </a:solidFill>
                <a:effectLst/>
              </a:rPr>
              <a:t>针对知名高校论文</a:t>
            </a:r>
            <a:endParaRPr lang="zh-CN" altLang="en-US">
              <a:solidFill>
                <a:srgbClr val="FF0000"/>
              </a:solidFill>
              <a:ea typeface="宋体" panose="02010600030101010101" pitchFamily="2" charset="-122"/>
            </a:endParaRPr>
          </a:p>
        </p:txBody>
      </p:sp>
      <p:cxnSp>
        <p:nvCxnSpPr>
          <p:cNvPr id="38917" name="直接箭头连接符 5"/>
          <p:cNvCxnSpPr>
            <a:cxnSpLocks noChangeShapeType="1"/>
          </p:cNvCxnSpPr>
          <p:nvPr/>
        </p:nvCxnSpPr>
        <p:spPr bwMode="auto">
          <a:xfrm flipH="1">
            <a:off x="1475740" y="1628775"/>
            <a:ext cx="1296035" cy="288036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5" name="文本框 4"/>
          <p:cNvSpPr txBox="1"/>
          <p:nvPr/>
        </p:nvSpPr>
        <p:spPr>
          <a:xfrm>
            <a:off x="3780155" y="2277110"/>
            <a:ext cx="2700020" cy="3861435"/>
          </a:xfrm>
          <a:prstGeom prst="rect">
            <a:avLst/>
          </a:prstGeom>
          <a:noFill/>
        </p:spPr>
        <p:txBody>
          <a:bodyPr wrap="square" rtlCol="0">
            <a:spAutoFit/>
          </a:bodyPr>
          <a:p>
            <a:pPr marL="0" algn="l" latinLnBrk="0">
              <a:lnSpc>
                <a:spcPts val="2100"/>
              </a:lnSpc>
              <a:buClrTx/>
              <a:buSzTx/>
              <a:buNone/>
            </a:pPr>
            <a:r>
              <a:rPr lang="en-US" altLang="zh-CN" sz="1800">
                <a:solidFill>
                  <a:srgbClr val="FF0000"/>
                </a:solidFill>
              </a:rPr>
              <a:t> QS 3</a:t>
            </a:r>
            <a:endParaRPr lang="en-US" altLang="zh-CN" sz="1800">
              <a:solidFill>
                <a:srgbClr val="FF0000"/>
              </a:solidFill>
            </a:endParaRPr>
          </a:p>
          <a:p>
            <a:pPr marL="0" algn="l" latinLnBrk="0">
              <a:lnSpc>
                <a:spcPts val="2100"/>
              </a:lnSpc>
              <a:buClrTx/>
              <a:buSzTx/>
              <a:buNone/>
            </a:pPr>
            <a:r>
              <a:rPr lang="en-US" altLang="zh-CN" sz="1800">
                <a:solidFill>
                  <a:srgbClr val="FF0000"/>
                </a:solidFill>
              </a:rPr>
              <a:t>          QS 27</a:t>
            </a:r>
            <a:endParaRPr lang="en-US" altLang="zh-CN" sz="1800">
              <a:solidFill>
                <a:srgbClr val="FF0000"/>
              </a:solidFill>
            </a:endParaRPr>
          </a:p>
          <a:p>
            <a:pPr marL="0" indent="0" latinLnBrk="0">
              <a:lnSpc>
                <a:spcPts val="2100"/>
              </a:lnSpc>
            </a:pPr>
            <a:r>
              <a:rPr lang="en-US" altLang="zh-CN" sz="1800">
                <a:solidFill>
                  <a:srgbClr val="FF0000"/>
                </a:solidFill>
              </a:rPr>
              <a:t>          QS 34</a:t>
            </a:r>
            <a:endParaRPr lang="en-US" altLang="zh-CN" sz="1800">
              <a:solidFill>
                <a:srgbClr val="FF0000"/>
              </a:solidFill>
            </a:endParaRPr>
          </a:p>
          <a:p>
            <a:pPr marL="0" indent="0" latinLnBrk="0">
              <a:lnSpc>
                <a:spcPts val="2100"/>
              </a:lnSpc>
            </a:pPr>
            <a:r>
              <a:rPr lang="en-US" altLang="zh-CN" sz="1800">
                <a:solidFill>
                  <a:srgbClr val="FF0000"/>
                </a:solidFill>
              </a:rPr>
              <a:t>  QS 25</a:t>
            </a:r>
            <a:endParaRPr lang="en-US" altLang="zh-CN" sz="1800">
              <a:solidFill>
                <a:srgbClr val="FF0000"/>
              </a:solidFill>
            </a:endParaRPr>
          </a:p>
          <a:p>
            <a:pPr marL="0" indent="0" latinLnBrk="0">
              <a:lnSpc>
                <a:spcPts val="2100"/>
              </a:lnSpc>
            </a:pPr>
            <a:r>
              <a:rPr lang="en-US" altLang="zh-CN" sz="1800">
                <a:solidFill>
                  <a:srgbClr val="FF0000"/>
                </a:solidFill>
              </a:rPr>
              <a:t>  QS 219</a:t>
            </a:r>
            <a:endParaRPr lang="en-US" altLang="zh-CN" sz="1800">
              <a:solidFill>
                <a:srgbClr val="FF0000"/>
              </a:solidFill>
            </a:endParaRPr>
          </a:p>
          <a:p>
            <a:pPr marL="0" indent="0" latinLnBrk="0">
              <a:lnSpc>
                <a:spcPts val="2100"/>
              </a:lnSpc>
            </a:pPr>
            <a:r>
              <a:rPr lang="en-US" altLang="zh-CN" sz="1800">
                <a:solidFill>
                  <a:srgbClr val="FF0000"/>
                </a:solidFill>
              </a:rPr>
              <a:t>   QS 80</a:t>
            </a:r>
            <a:endParaRPr lang="en-US" altLang="zh-CN" sz="1800">
              <a:solidFill>
                <a:srgbClr val="FF0000"/>
              </a:solidFill>
            </a:endParaRPr>
          </a:p>
          <a:p>
            <a:pPr marL="0" indent="0" latinLnBrk="0">
              <a:lnSpc>
                <a:spcPts val="2100"/>
              </a:lnSpc>
            </a:pPr>
            <a:r>
              <a:rPr lang="en-US" altLang="zh-CN" sz="1800">
                <a:solidFill>
                  <a:srgbClr val="FF0000"/>
                </a:solidFill>
              </a:rPr>
              <a:t>             QS 44</a:t>
            </a:r>
            <a:endParaRPr lang="en-US" altLang="zh-CN" sz="1800">
              <a:solidFill>
                <a:srgbClr val="FF0000"/>
              </a:solidFill>
            </a:endParaRPr>
          </a:p>
          <a:p>
            <a:pPr marL="0" indent="0" latinLnBrk="0">
              <a:lnSpc>
                <a:spcPts val="2100"/>
              </a:lnSpc>
            </a:pPr>
            <a:r>
              <a:rPr lang="en-US" altLang="zh-CN" sz="1800">
                <a:solidFill>
                  <a:srgbClr val="FF0000"/>
                </a:solidFill>
              </a:rPr>
              <a:t>     QS 31</a:t>
            </a:r>
            <a:endParaRPr lang="en-US" altLang="zh-CN" sz="1800">
              <a:solidFill>
                <a:srgbClr val="FF0000"/>
              </a:solidFill>
            </a:endParaRPr>
          </a:p>
          <a:p>
            <a:pPr marL="0" indent="0" latinLnBrk="0">
              <a:lnSpc>
                <a:spcPts val="2100"/>
              </a:lnSpc>
            </a:pPr>
            <a:r>
              <a:rPr lang="en-US" altLang="zh-CN" sz="1800">
                <a:solidFill>
                  <a:srgbClr val="FF0000"/>
                </a:solidFill>
              </a:rPr>
              <a:t>     QS 16</a:t>
            </a:r>
            <a:endParaRPr lang="en-US" altLang="zh-CN" sz="1800">
              <a:solidFill>
                <a:srgbClr val="FF0000"/>
              </a:solidFill>
            </a:endParaRPr>
          </a:p>
          <a:p>
            <a:pPr marL="0" indent="0" latinLnBrk="0">
              <a:lnSpc>
                <a:spcPts val="2100"/>
              </a:lnSpc>
            </a:pPr>
            <a:r>
              <a:rPr lang="en-US" altLang="zh-CN" sz="1800">
                <a:solidFill>
                  <a:srgbClr val="FF0000"/>
                </a:solidFill>
              </a:rPr>
              <a:t>           QS 53</a:t>
            </a:r>
            <a:endParaRPr lang="en-US" altLang="zh-CN" sz="1800">
              <a:solidFill>
                <a:srgbClr val="FF0000"/>
              </a:solidFill>
            </a:endParaRPr>
          </a:p>
          <a:p>
            <a:pPr marL="0" indent="0" latinLnBrk="0">
              <a:lnSpc>
                <a:spcPts val="2100"/>
              </a:lnSpc>
            </a:pPr>
            <a:r>
              <a:rPr lang="en-US" altLang="zh-CN" sz="1800">
                <a:solidFill>
                  <a:srgbClr val="FF0000"/>
                </a:solidFill>
              </a:rPr>
              <a:t>           QS 164</a:t>
            </a:r>
            <a:endParaRPr lang="en-US" altLang="zh-CN" sz="1800">
              <a:solidFill>
                <a:srgbClr val="FF0000"/>
              </a:solidFill>
            </a:endParaRPr>
          </a:p>
          <a:p>
            <a:pPr marL="0" indent="0" latinLnBrk="0">
              <a:lnSpc>
                <a:spcPts val="2100"/>
              </a:lnSpc>
            </a:pPr>
            <a:r>
              <a:rPr lang="en-US" altLang="zh-CN" sz="1800">
                <a:solidFill>
                  <a:srgbClr val="FF0000"/>
                </a:solidFill>
                <a:sym typeface="+mn-ea"/>
              </a:rPr>
              <a:t>QS 375</a:t>
            </a:r>
            <a:endParaRPr lang="en-US" altLang="zh-CN" sz="1800">
              <a:solidFill>
                <a:srgbClr val="FF0000"/>
              </a:solidFill>
            </a:endParaRPr>
          </a:p>
          <a:p>
            <a:pPr marL="0" indent="0" latinLnBrk="0">
              <a:lnSpc>
                <a:spcPts val="2100"/>
              </a:lnSpc>
            </a:pPr>
            <a:endParaRPr lang="en-US" altLang="zh-CN" sz="1800">
              <a:solidFill>
                <a:srgbClr val="FF0000"/>
              </a:solidFill>
            </a:endParaRPr>
          </a:p>
          <a:p>
            <a:pPr marL="0" indent="0" latinLnBrk="0">
              <a:lnSpc>
                <a:spcPts val="2100"/>
              </a:lnSpc>
            </a:pPr>
            <a:endParaRPr lang="en-US" altLang="zh-CN" sz="1800">
              <a:solidFill>
                <a:srgbClr val="FF0000"/>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graphicFrame>
        <p:nvGraphicFramePr>
          <p:cNvPr id="3" name="表格 2"/>
          <p:cNvGraphicFramePr/>
          <p:nvPr/>
        </p:nvGraphicFramePr>
        <p:xfrm>
          <a:off x="307340" y="1379093"/>
          <a:ext cx="8660130" cy="5411470"/>
        </p:xfrm>
        <a:graphic>
          <a:graphicData uri="http://schemas.openxmlformats.org/drawingml/2006/table">
            <a:tbl>
              <a:tblPr/>
              <a:tblGrid>
                <a:gridCol w="2108835"/>
                <a:gridCol w="3420110"/>
                <a:gridCol w="1003300"/>
                <a:gridCol w="706755"/>
                <a:gridCol w="1421130"/>
              </a:tblGrid>
              <a:tr h="304800">
                <a:tc>
                  <a:txBody>
                    <a:bodyPr/>
                    <a:p>
                      <a:pPr indent="0" algn="ctr">
                        <a:lnSpc>
                          <a:spcPts val="2400"/>
                        </a:lnSpc>
                        <a:buNone/>
                      </a:pPr>
                      <a:r>
                        <a:rPr lang="zh-CN" altLang="en-US" sz="1600" b="1">
                          <a:ln w="9525" cmpd="sng">
                            <a:solidFill>
                              <a:srgbClr val="FF0000"/>
                            </a:solidFill>
                            <a:prstDash val="solid"/>
                          </a:ln>
                          <a:solidFill>
                            <a:srgbClr val="70AD47">
                              <a:tint val="1000"/>
                            </a:srgbClr>
                          </a:solidFill>
                          <a:effectLst/>
                          <a:latin typeface="Times New Roman" panose="02020603050405020304" pitchFamily="18" charset="0"/>
                        </a:rPr>
                        <a:t>学校名称</a:t>
                      </a:r>
                      <a:endParaRPr lang="zh-CN" altLang="en-US" sz="1600" b="1">
                        <a:ln w="9525" cmpd="sng">
                          <a:solidFill>
                            <a:srgbClr val="FF0000"/>
                          </a:solidFill>
                          <a:prstDash val="solid"/>
                        </a:ln>
                        <a:solidFill>
                          <a:srgbClr val="70AD47">
                            <a:tint val="1000"/>
                          </a:srgbClr>
                        </a:solidFill>
                        <a:effectLst/>
                        <a:latin typeface="Times New Roman" panose="02020603050405020304" pitchFamily="18"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a:lnSpc>
                          <a:spcPts val="2400"/>
                        </a:lnSpc>
                        <a:buNone/>
                      </a:pPr>
                      <a:r>
                        <a:rPr lang="zh-CN" altLang="en-US" sz="1600" b="1">
                          <a:ln w="9525" cmpd="sng">
                            <a:solidFill>
                              <a:srgbClr val="FF0000"/>
                            </a:solidFill>
                            <a:prstDash val="solid"/>
                          </a:ln>
                          <a:solidFill>
                            <a:srgbClr val="70AD47">
                              <a:tint val="1000"/>
                            </a:srgbClr>
                          </a:solidFill>
                          <a:effectLst/>
                          <a:latin typeface="Times New Roman" panose="02020603050405020304" pitchFamily="18" charset="0"/>
                        </a:rPr>
                        <a:t>英文名</a:t>
                      </a:r>
                      <a:endParaRPr lang="zh-CN" altLang="en-US" sz="1600" b="1">
                        <a:ln w="9525" cmpd="sng">
                          <a:solidFill>
                            <a:srgbClr val="FF0000"/>
                          </a:solidFill>
                          <a:prstDash val="solid"/>
                        </a:ln>
                        <a:solidFill>
                          <a:srgbClr val="70AD47">
                            <a:tint val="1000"/>
                          </a:srgbClr>
                        </a:solidFill>
                        <a:effectLst/>
                        <a:latin typeface="Times New Roman" panose="02020603050405020304" pitchFamily="18"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a:lnSpc>
                          <a:spcPts val="2400"/>
                        </a:lnSpc>
                        <a:buNone/>
                      </a:pPr>
                      <a:r>
                        <a:rPr lang="zh-CN" altLang="en-US" sz="1600" b="1">
                          <a:ln w="9525" cmpd="sng">
                            <a:solidFill>
                              <a:srgbClr val="FF0000"/>
                            </a:solidFill>
                            <a:prstDash val="solid"/>
                          </a:ln>
                          <a:solidFill>
                            <a:srgbClr val="70AD47">
                              <a:tint val="1000"/>
                            </a:srgbClr>
                          </a:solidFill>
                          <a:effectLst/>
                          <a:latin typeface="Times New Roman" panose="02020603050405020304" pitchFamily="18" charset="0"/>
                        </a:rPr>
                        <a:t>国家/地区</a:t>
                      </a:r>
                      <a:endParaRPr lang="zh-CN" altLang="en-US" sz="1600" b="1">
                        <a:ln w="9525" cmpd="sng">
                          <a:solidFill>
                            <a:srgbClr val="FF0000"/>
                          </a:solidFill>
                          <a:prstDash val="solid"/>
                        </a:ln>
                        <a:solidFill>
                          <a:srgbClr val="70AD47">
                            <a:tint val="1000"/>
                          </a:srgbClr>
                        </a:solidFill>
                        <a:effectLst/>
                        <a:latin typeface="Times New Roman" panose="02020603050405020304" pitchFamily="18"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a:lnSpc>
                          <a:spcPts val="2400"/>
                        </a:lnSpc>
                        <a:buNone/>
                      </a:pPr>
                      <a:r>
                        <a:rPr lang="zh-CN" altLang="en-US" sz="1600" b="1">
                          <a:ln w="9525" cmpd="sng">
                            <a:solidFill>
                              <a:srgbClr val="FF0000"/>
                            </a:solidFill>
                            <a:prstDash val="solid"/>
                          </a:ln>
                          <a:solidFill>
                            <a:srgbClr val="70AD47">
                              <a:tint val="1000"/>
                            </a:srgbClr>
                          </a:solidFill>
                          <a:effectLst/>
                          <a:latin typeface="Times New Roman" panose="02020603050405020304" pitchFamily="18" charset="0"/>
                        </a:rPr>
                        <a:t>QS排名</a:t>
                      </a:r>
                      <a:endParaRPr lang="zh-CN" altLang="en-US" sz="1600" b="1">
                        <a:ln w="9525" cmpd="sng">
                          <a:solidFill>
                            <a:srgbClr val="FF0000"/>
                          </a:solidFill>
                          <a:prstDash val="solid"/>
                        </a:ln>
                        <a:solidFill>
                          <a:srgbClr val="70AD47">
                            <a:tint val="1000"/>
                          </a:srgbClr>
                        </a:solidFill>
                        <a:effectLst/>
                        <a:latin typeface="Times New Roman" panose="02020603050405020304" pitchFamily="18"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a:lnSpc>
                          <a:spcPts val="2400"/>
                        </a:lnSpc>
                        <a:buNone/>
                      </a:pPr>
                      <a:r>
                        <a:rPr lang="zh-CN" altLang="en-US" sz="1600" b="1">
                          <a:ln w="9525" cmpd="sng">
                            <a:solidFill>
                              <a:srgbClr val="FF0000"/>
                            </a:solidFill>
                            <a:prstDash val="solid"/>
                          </a:ln>
                          <a:solidFill>
                            <a:srgbClr val="70AD47">
                              <a:tint val="1000"/>
                            </a:srgbClr>
                          </a:solidFill>
                          <a:effectLst/>
                          <a:latin typeface="Times New Roman" panose="02020603050405020304" pitchFamily="18" charset="0"/>
                        </a:rPr>
                        <a:t>检索结果篇数</a:t>
                      </a:r>
                      <a:endParaRPr lang="zh-CN" altLang="en-US" sz="1600" b="1">
                        <a:ln w="9525" cmpd="sng">
                          <a:solidFill>
                            <a:srgbClr val="FF0000"/>
                          </a:solidFill>
                          <a:prstDash val="solid"/>
                        </a:ln>
                        <a:solidFill>
                          <a:srgbClr val="70AD47">
                            <a:tint val="1000"/>
                          </a:srgbClr>
                        </a:solidFill>
                        <a:effectLst/>
                        <a:latin typeface="Times New Roman" panose="02020603050405020304" pitchFamily="18"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173355">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斯坦福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Stanford Universit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3</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328</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17399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加州大学伯克利分校</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California, Berkele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7</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97</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多伦多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Toronto (Canada)</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加拿大</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34</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71</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密歇根大学-安娜堡</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Michigan - Ann Arbor</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5</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51</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亚利桑那州立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Arizona State Universit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19</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44</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华盛顿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Washington</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80</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42</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173355">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加州大学洛杉矶分校</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California, Los Angeles</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44</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215</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5435">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麦吉尔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McGill Universit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加拿大</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31</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99</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普林斯顿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Princeton Universit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6</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61</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加州大学圣地亚哥分校</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California, San Diego</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53</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59</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马里兰大学帕克分校</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University of Maryland, College Park</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美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64</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48</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r h="304800">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东北大学</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6350" cap="flat" cmpd="sng">
                      <a:solidFill>
                        <a:srgbClr val="000000"/>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Northeastern University</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中国</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388</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12700" cap="flat" cmpd="sng">
                      <a:solidFill>
                        <a:srgbClr val="666666"/>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c>
                  <a:txBody>
                    <a:bodyPr/>
                    <a:p>
                      <a:pPr indent="0" algn="ctr" fontAlgn="auto">
                        <a:lnSpc>
                          <a:spcPct val="150000"/>
                        </a:lnSpc>
                        <a:buClrTx/>
                        <a:buSzTx/>
                        <a:buFontTx/>
                      </a:pPr>
                      <a:r>
                        <a:rPr lang="zh-CN" altLang="en-US" sz="1600" b="1" i="0">
                          <a:ln w="9525" cmpd="sng">
                            <a:solidFill>
                              <a:srgbClr val="FF0000"/>
                            </a:solidFill>
                            <a:prstDash val="solid"/>
                          </a:ln>
                          <a:solidFill>
                            <a:srgbClr val="70AD47">
                              <a:tint val="1000"/>
                            </a:srgbClr>
                          </a:solidFill>
                          <a:effectLst/>
                          <a:latin typeface="Times New Roman" panose="02020603050405020304" pitchFamily="18" charset="0"/>
                        </a:rPr>
                        <a:t>146</a:t>
                      </a:r>
                      <a:endParaRPr lang="zh-CN" altLang="en-US" sz="1600" b="1" i="0">
                        <a:ln w="9525" cmpd="sng">
                          <a:solidFill>
                            <a:srgbClr val="FF0000"/>
                          </a:solidFill>
                          <a:prstDash val="solid"/>
                        </a:ln>
                        <a:solidFill>
                          <a:srgbClr val="70AD47">
                            <a:tint val="1000"/>
                          </a:srgbClr>
                        </a:solidFill>
                        <a:effectLst/>
                        <a:latin typeface="Times New Roman" panose="02020603050405020304" pitchFamily="18" charset="0"/>
                      </a:endParaRPr>
                    </a:p>
                  </a:txBody>
                  <a:tcPr marL="9842" marR="9842" marT="9842" marB="0" anchor="ctr" anchorCtr="0">
                    <a:lnL w="12700" cap="flat" cmpd="sng">
                      <a:solidFill>
                        <a:srgbClr val="666666"/>
                      </a:solidFill>
                      <a:prstDash val="solid"/>
                      <a:headEnd type="none" w="med" len="med"/>
                      <a:tailEnd type="none" w="med" len="med"/>
                    </a:lnL>
                    <a:lnR w="6350" cap="flat" cmpd="sng">
                      <a:solidFill>
                        <a:srgbClr val="000000"/>
                      </a:solidFill>
                      <a:prstDash val="solid"/>
                      <a:headEnd type="none" w="med" len="med"/>
                      <a:tailEnd type="none" w="med" len="med"/>
                    </a:lnR>
                    <a:lnT w="12700" cap="flat" cmpd="sng">
                      <a:solidFill>
                        <a:srgbClr val="666666"/>
                      </a:solidFill>
                      <a:prstDash val="solid"/>
                      <a:headEnd type="none" w="med" len="med"/>
                      <a:tailEnd type="none" w="med" len="med"/>
                    </a:lnT>
                    <a:lnB w="12700" cap="flat" cmpd="sng">
                      <a:solidFill>
                        <a:srgbClr val="666666"/>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0" y="1160780"/>
            <a:ext cx="9144000" cy="5723890"/>
          </a:xfrm>
          <a:prstGeom prst="rect">
            <a:avLst/>
          </a:prstGeom>
        </p:spPr>
      </p:pic>
      <p:sp>
        <p:nvSpPr>
          <p:cNvPr id="3993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检索结果页面</a:t>
            </a:r>
            <a:endParaRPr lang="zh-CN" altLang="en-US" sz="2800">
              <a:ea typeface="宋体" panose="02010600030101010101" pitchFamily="2" charset="-122"/>
            </a:endParaRPr>
          </a:p>
        </p:txBody>
      </p:sp>
      <p:sp>
        <p:nvSpPr>
          <p:cNvPr id="39940" name="TextBox 6"/>
          <p:cNvSpPr txBox="1">
            <a:spLocks noChangeArrowheads="1"/>
          </p:cNvSpPr>
          <p:nvPr/>
        </p:nvSpPr>
        <p:spPr bwMode="auto">
          <a:xfrm>
            <a:off x="3276600" y="1452563"/>
            <a:ext cx="241808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sz="1600">
                <a:ln w="9525" cmpd="sng">
                  <a:solidFill>
                    <a:srgbClr val="FF0000"/>
                  </a:solidFill>
                  <a:prstDash val="solid"/>
                </a:ln>
                <a:solidFill>
                  <a:srgbClr val="70AD47">
                    <a:tint val="1000"/>
                  </a:srgbClr>
                </a:solidFill>
                <a:effectLst/>
              </a:rPr>
              <a:t>以英语为主包含多种语言</a:t>
            </a:r>
            <a:endParaRPr lang="zh-CN" altLang="en-US" sz="1600">
              <a:ln w="9525" cmpd="sng">
                <a:solidFill>
                  <a:srgbClr val="FF0000"/>
                </a:solidFill>
                <a:prstDash val="solid"/>
              </a:ln>
              <a:solidFill>
                <a:srgbClr val="70AD47">
                  <a:tint val="1000"/>
                </a:srgbClr>
              </a:solidFill>
              <a:effectLst/>
            </a:endParaRPr>
          </a:p>
        </p:txBody>
      </p:sp>
      <p:cxnSp>
        <p:nvCxnSpPr>
          <p:cNvPr id="39941" name="直接箭头连接符 5"/>
          <p:cNvCxnSpPr>
            <a:cxnSpLocks noChangeShapeType="1"/>
          </p:cNvCxnSpPr>
          <p:nvPr/>
        </p:nvCxnSpPr>
        <p:spPr bwMode="auto">
          <a:xfrm flipH="1">
            <a:off x="1475740" y="1772920"/>
            <a:ext cx="1944370" cy="410464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cxnSp>
        <p:nvCxnSpPr>
          <p:cNvPr id="39942" name="直接箭头连接符 5"/>
          <p:cNvCxnSpPr>
            <a:cxnSpLocks noChangeShapeType="1"/>
          </p:cNvCxnSpPr>
          <p:nvPr/>
        </p:nvCxnSpPr>
        <p:spPr bwMode="auto">
          <a:xfrm>
            <a:off x="4211638" y="1822450"/>
            <a:ext cx="1152525" cy="45466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 name="文本框 3"/>
          <p:cNvSpPr txBox="1"/>
          <p:nvPr/>
        </p:nvSpPr>
        <p:spPr>
          <a:xfrm>
            <a:off x="3780155" y="2132965"/>
            <a:ext cx="1522730" cy="3025140"/>
          </a:xfrm>
          <a:prstGeom prst="rect">
            <a:avLst/>
          </a:prstGeom>
          <a:noFill/>
        </p:spPr>
        <p:txBody>
          <a:bodyPr wrap="square" rtlCol="0">
            <a:spAutoFit/>
          </a:bodyPr>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rPr>
              <a:t>英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汉语</a:t>
            </a:r>
            <a:endParaRPr lang="zh-CN" altLang="en-US" sz="1600">
              <a:ln w="9525" cmpd="sng">
                <a:solidFill>
                  <a:srgbClr val="FF0000"/>
                </a:solidFill>
                <a:prstDash val="solid"/>
              </a:ln>
              <a:solidFill>
                <a:srgbClr val="70AD47">
                  <a:tint val="1000"/>
                </a:srgbClr>
              </a:solidFill>
              <a:effectLst/>
              <a:sym typeface="+mn-ea"/>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葡萄牙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rPr>
              <a:t>法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rPr>
              <a:t>土耳其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ea typeface="宋体" panose="02010600030101010101" pitchFamily="2" charset="-122"/>
              </a:rPr>
              <a:t>捷克语</a:t>
            </a:r>
            <a:r>
              <a:rPr lang="en-US" altLang="zh-CN" sz="1600">
                <a:ln w="9525" cmpd="sng">
                  <a:solidFill>
                    <a:srgbClr val="FF0000"/>
                  </a:solidFill>
                  <a:prstDash val="solid"/>
                </a:ln>
                <a:solidFill>
                  <a:srgbClr val="70AD47">
                    <a:tint val="1000"/>
                  </a:srgbClr>
                </a:solidFill>
                <a:effectLst/>
              </a:rPr>
              <a:t>     </a:t>
            </a:r>
            <a:endParaRPr lang="en-US" altLang="zh-CN"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rPr>
              <a:t>希腊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西班牙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德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斯洛维尼亚语</a:t>
            </a:r>
            <a:endParaRPr lang="zh-CN" altLang="en-US" sz="1600">
              <a:ln w="9525" cmpd="sng">
                <a:solidFill>
                  <a:srgbClr val="FF0000"/>
                </a:solidFill>
                <a:prstDash val="solid"/>
              </a:ln>
              <a:solidFill>
                <a:srgbClr val="70AD47">
                  <a:tint val="1000"/>
                </a:srgbClr>
              </a:solidFill>
              <a:effectLst/>
            </a:endParaRPr>
          </a:p>
          <a:p>
            <a:pPr marL="0" indent="0" algn="l" latinLnBrk="0">
              <a:lnSpc>
                <a:spcPts val="2080"/>
              </a:lnSpc>
              <a:buClrTx/>
              <a:buSzTx/>
              <a:buFontTx/>
            </a:pPr>
            <a:r>
              <a:rPr lang="zh-CN" altLang="en-US" sz="1600">
                <a:ln w="9525" cmpd="sng">
                  <a:solidFill>
                    <a:srgbClr val="FF0000"/>
                  </a:solidFill>
                  <a:prstDash val="solid"/>
                </a:ln>
                <a:solidFill>
                  <a:srgbClr val="70AD47">
                    <a:tint val="1000"/>
                  </a:srgbClr>
                </a:solidFill>
                <a:effectLst/>
                <a:sym typeface="+mn-ea"/>
              </a:rPr>
              <a:t>苏里南语</a:t>
            </a:r>
            <a:endParaRPr lang="zh-CN" altLang="en-US" sz="1600">
              <a:ln w="9525" cmpd="sng">
                <a:solidFill>
                  <a:srgbClr val="FF0000"/>
                </a:solidFill>
                <a:prstDash val="solid"/>
              </a:ln>
              <a:solidFill>
                <a:srgbClr val="70AD47">
                  <a:tint val="1000"/>
                </a:srgbClr>
              </a:solidFill>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7" name="Group 2"/>
          <p:cNvGrpSpPr/>
          <p:nvPr/>
        </p:nvGrpSpPr>
        <p:grpSpPr bwMode="auto">
          <a:xfrm>
            <a:off x="174625" y="2132856"/>
            <a:ext cx="6196013" cy="4104456"/>
            <a:chOff x="275180" y="1468174"/>
            <a:chExt cx="8261351" cy="5546772"/>
          </a:xfrm>
        </p:grpSpPr>
        <p:sp>
          <p:nvSpPr>
            <p:cNvPr id="25" name="Rounded Rectangle 24"/>
            <p:cNvSpPr/>
            <p:nvPr>
              <p:custDataLst>
                <p:tags r:id="rId1"/>
              </p:custDataLst>
            </p:nvPr>
          </p:nvSpPr>
          <p:spPr>
            <a:xfrm>
              <a:off x="638401" y="1468174"/>
              <a:ext cx="7898130" cy="5128670"/>
            </a:xfrm>
            <a:prstGeom prst="roundRect">
              <a:avLst>
                <a:gd name="adj" fmla="val 34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spcCol="731520"/>
            <a:lstStyle/>
            <a:p>
              <a:pPr>
                <a:defRPr/>
              </a:pPr>
              <a:r>
                <a:rPr lang="zh-CN" altLang="en-US" dirty="0">
                  <a:solidFill>
                    <a:schemeClr val="tx1"/>
                  </a:solidFill>
                </a:rPr>
                <a:t>反映前沿趋势，提出新见解</a:t>
              </a:r>
              <a:endParaRPr lang="en-US" altLang="zh-CN" dirty="0">
                <a:solidFill>
                  <a:schemeClr val="tx1"/>
                </a:solidFill>
              </a:endParaRPr>
            </a:p>
            <a:p>
              <a:pPr>
                <a:defRPr/>
              </a:pPr>
              <a:endParaRPr lang="en-GB" dirty="0">
                <a:solidFill>
                  <a:schemeClr val="tx1"/>
                </a:solidFill>
                <a:cs typeface="Open Sans" panose="020B0606030504020204" pitchFamily="34" charset="0"/>
              </a:endParaRPr>
            </a:p>
            <a:p>
              <a:pPr>
                <a:spcAft>
                  <a:spcPts val="1800"/>
                </a:spcAft>
                <a:defRPr/>
              </a:pPr>
              <a:r>
                <a:rPr lang="zh-CN" altLang="en-US" dirty="0">
                  <a:solidFill>
                    <a:schemeClr val="tx1"/>
                  </a:solidFill>
                </a:rPr>
                <a:t>提供比期刊文章更多更全面的内容，</a:t>
              </a:r>
              <a:r>
                <a:rPr lang="en-US" altLang="zh-CN" dirty="0">
                  <a:solidFill>
                    <a:schemeClr val="tx1"/>
                  </a:solidFill>
                </a:rPr>
                <a:t>200+</a:t>
              </a:r>
              <a:r>
                <a:rPr lang="zh-CN" altLang="en-US" dirty="0">
                  <a:solidFill>
                    <a:schemeClr val="tx1"/>
                  </a:solidFill>
                </a:rPr>
                <a:t>页学位论文</a:t>
              </a:r>
              <a:r>
                <a:rPr lang="en-US" altLang="zh-CN" dirty="0">
                  <a:solidFill>
                    <a:schemeClr val="tx1"/>
                  </a:solidFill>
                </a:rPr>
                <a:t>VS10+</a:t>
              </a:r>
              <a:r>
                <a:rPr lang="zh-CN" altLang="en-US" dirty="0">
                  <a:solidFill>
                    <a:schemeClr val="tx1"/>
                  </a:solidFill>
                </a:rPr>
                <a:t>页期刊文献</a:t>
              </a:r>
              <a:endParaRPr lang="en-GB" dirty="0">
                <a:solidFill>
                  <a:schemeClr val="tx1"/>
                </a:solidFill>
              </a:endParaRPr>
            </a:p>
            <a:p>
              <a:pPr>
                <a:spcAft>
                  <a:spcPts val="1800"/>
                </a:spcAft>
                <a:defRPr/>
              </a:pPr>
              <a:r>
                <a:rPr lang="zh-CN" altLang="en-US" dirty="0">
                  <a:solidFill>
                    <a:schemeClr val="tx1"/>
                  </a:solidFill>
                </a:rPr>
                <a:t>是某些小众学科或特定课题最新研究成果及学术动态的重要信息来源</a:t>
              </a:r>
              <a:endParaRPr lang="en-GB" dirty="0">
                <a:solidFill>
                  <a:schemeClr val="tx1"/>
                </a:solidFill>
                <a:cs typeface="Open Sans" panose="020B0606030504020204" pitchFamily="34" charset="0"/>
              </a:endParaRPr>
            </a:p>
            <a:p>
              <a:pPr>
                <a:defRPr/>
              </a:pPr>
              <a:r>
                <a:rPr lang="zh-CN" altLang="en-US" dirty="0">
                  <a:solidFill>
                    <a:schemeClr val="accent1">
                      <a:lumMod val="40000"/>
                      <a:lumOff val="60000"/>
                    </a:schemeClr>
                  </a:solidFill>
                  <a:sym typeface="+mn-ea"/>
                  <a:hlinkClick r:id="rId2" action="ppaction://hlinksldjump"/>
                </a:rPr>
                <a:t>学位论文中包含了广泛全面的文献综述及参考书目信息</a:t>
              </a:r>
              <a:endParaRPr lang="en-GB" dirty="0">
                <a:solidFill>
                  <a:schemeClr val="accent1">
                    <a:lumMod val="40000"/>
                    <a:lumOff val="60000"/>
                  </a:schemeClr>
                </a:solidFill>
                <a:cs typeface="Open Sans" panose="020B0606030504020204" pitchFamily="34" charset="0"/>
              </a:endParaRPr>
            </a:p>
            <a:p>
              <a:pPr>
                <a:defRPr/>
              </a:pPr>
              <a:endParaRPr lang="en-GB" dirty="0">
                <a:solidFill>
                  <a:schemeClr val="accent1">
                    <a:lumMod val="40000"/>
                    <a:lumOff val="60000"/>
                  </a:schemeClr>
                </a:solidFill>
                <a:cs typeface="Open Sans" panose="020B0606030504020204" pitchFamily="34" charset="0"/>
              </a:endParaRPr>
            </a:p>
            <a:p>
              <a:pPr>
                <a:defRPr/>
              </a:pPr>
              <a:r>
                <a:rPr lang="zh-CN" altLang="en-US" dirty="0">
                  <a:solidFill>
                    <a:schemeClr val="accent1">
                      <a:lumMod val="40000"/>
                      <a:lumOff val="60000"/>
                    </a:schemeClr>
                  </a:solidFill>
                  <a:sym typeface="+mn-ea"/>
                  <a:hlinkClick r:id="rId2" action="ppaction://hlinksldjump"/>
                </a:rPr>
                <a:t>学位论文中往往包含更全面的研究数据</a:t>
              </a:r>
              <a:endParaRPr lang="en-US" altLang="zh-CN" dirty="0">
                <a:solidFill>
                  <a:schemeClr val="accent1">
                    <a:lumMod val="40000"/>
                    <a:lumOff val="60000"/>
                  </a:schemeClr>
                </a:solidFill>
              </a:endParaRPr>
            </a:p>
            <a:p>
              <a:pPr>
                <a:defRPr/>
              </a:pPr>
              <a:endParaRPr lang="en-US" altLang="zh-CN" dirty="0">
                <a:solidFill>
                  <a:schemeClr val="tx1"/>
                </a:solidFill>
              </a:endParaRPr>
            </a:p>
            <a:p>
              <a:pPr>
                <a:defRPr/>
              </a:pPr>
              <a:r>
                <a:rPr lang="zh-CN" altLang="en-US" dirty="0">
                  <a:solidFill>
                    <a:schemeClr val="tx1"/>
                  </a:solidFill>
                  <a:sym typeface="+mn-ea"/>
                </a:rPr>
                <a:t>提供海量学位论文的写作指南信息（形式与格式）</a:t>
              </a:r>
              <a:endParaRPr lang="en-GB" dirty="0">
                <a:solidFill>
                  <a:schemeClr val="tx1"/>
                </a:solidFill>
                <a:cs typeface="Open Sans" panose="020B0606030504020204" pitchFamily="34" charset="0"/>
              </a:endParaRPr>
            </a:p>
            <a:p>
              <a:pPr>
                <a:defRPr/>
              </a:pPr>
              <a:endParaRPr lang="en-GB" dirty="0">
                <a:solidFill>
                  <a:schemeClr val="tx1"/>
                </a:solidFill>
              </a:endParaRPr>
            </a:p>
            <a:p>
              <a:pPr>
                <a:defRPr/>
              </a:pPr>
              <a:r>
                <a:rPr lang="zh-CN" altLang="en-US" dirty="0">
                  <a:solidFill>
                    <a:schemeClr val="accent1">
                      <a:lumMod val="40000"/>
                      <a:lumOff val="60000"/>
                    </a:schemeClr>
                  </a:solidFill>
                  <a:hlinkClick r:id="rId2" action="ppaction://hlinksldjump"/>
                </a:rPr>
                <a:t>对于未来科研具有重要启发和建议的作用</a:t>
              </a:r>
              <a:endParaRPr lang="en-GB" dirty="0">
                <a:solidFill>
                  <a:schemeClr val="accent1">
                    <a:lumMod val="40000"/>
                    <a:lumOff val="60000"/>
                  </a:schemeClr>
                </a:solidFill>
              </a:endParaRPr>
            </a:p>
            <a:p>
              <a:pPr>
                <a:spcAft>
                  <a:spcPts val="1800"/>
                </a:spcAft>
                <a:defRPr/>
              </a:pPr>
              <a:endParaRPr lang="en-GB" dirty="0">
                <a:solidFill>
                  <a:schemeClr val="tx1"/>
                </a:solidFill>
                <a:cs typeface="Open Sans" panose="020B0606030504020204" pitchFamily="34" charset="0"/>
              </a:endParaRPr>
            </a:p>
          </p:txBody>
        </p:sp>
        <p:sp>
          <p:nvSpPr>
            <p:cNvPr id="37" name="Oval 36"/>
            <p:cNvSpPr/>
            <p:nvPr>
              <p:custDataLst>
                <p:tags r:id="rId3"/>
              </p:custDataLst>
            </p:nvPr>
          </p:nvSpPr>
          <p:spPr>
            <a:xfrm>
              <a:off x="283647" y="1563958"/>
              <a:ext cx="400051" cy="3977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dirty="0">
                  <a:solidFill>
                    <a:schemeClr val="tx1"/>
                  </a:solidFill>
                  <a:latin typeface="+mn-lt"/>
                  <a:ea typeface="+mn-ea"/>
                  <a:cs typeface="Open Sans"/>
                </a:rPr>
                <a:t>1</a:t>
              </a:r>
              <a:endParaRPr lang="en-US" altLang="zh-CN" b="1" dirty="0">
                <a:solidFill>
                  <a:schemeClr val="tx1"/>
                </a:solidFill>
                <a:latin typeface="+mn-lt"/>
                <a:ea typeface="+mn-ea"/>
                <a:cs typeface="Open Sans"/>
              </a:endParaRPr>
            </a:p>
          </p:txBody>
        </p:sp>
        <p:sp>
          <p:nvSpPr>
            <p:cNvPr id="38" name="Oval 37"/>
            <p:cNvSpPr/>
            <p:nvPr>
              <p:custDataLst>
                <p:tags r:id="rId4"/>
              </p:custDataLst>
            </p:nvPr>
          </p:nvSpPr>
          <p:spPr>
            <a:xfrm>
              <a:off x="275180" y="2331608"/>
              <a:ext cx="397933" cy="39990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a:solidFill>
                    <a:schemeClr val="tx1"/>
                  </a:solidFill>
                  <a:latin typeface="+mn-lt"/>
                  <a:ea typeface="+mn-ea"/>
                  <a:cs typeface="Open Sans"/>
                </a:rPr>
                <a:t>2</a:t>
              </a:r>
              <a:endParaRPr lang="en-US" altLang="zh-CN" b="1">
                <a:solidFill>
                  <a:schemeClr val="tx1"/>
                </a:solidFill>
                <a:latin typeface="+mn-lt"/>
                <a:ea typeface="+mn-ea"/>
                <a:cs typeface="Open Sans"/>
              </a:endParaRPr>
            </a:p>
          </p:txBody>
        </p:sp>
        <p:sp>
          <p:nvSpPr>
            <p:cNvPr id="39" name="Oval 38"/>
            <p:cNvSpPr/>
            <p:nvPr>
              <p:custDataLst>
                <p:tags r:id="rId5"/>
              </p:custDataLst>
            </p:nvPr>
          </p:nvSpPr>
          <p:spPr>
            <a:xfrm>
              <a:off x="286187" y="3423837"/>
              <a:ext cx="397933" cy="3999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a:solidFill>
                    <a:schemeClr val="tx1"/>
                  </a:solidFill>
                  <a:latin typeface="+mn-lt"/>
                  <a:ea typeface="+mn-ea"/>
                  <a:cs typeface="Open Sans"/>
                </a:rPr>
                <a:t>3</a:t>
              </a:r>
              <a:endParaRPr lang="en-US" altLang="zh-CN" b="1">
                <a:solidFill>
                  <a:schemeClr val="tx1"/>
                </a:solidFill>
                <a:latin typeface="+mn-lt"/>
                <a:ea typeface="+mn-ea"/>
                <a:cs typeface="Open Sans"/>
              </a:endParaRPr>
            </a:p>
          </p:txBody>
        </p:sp>
        <p:sp>
          <p:nvSpPr>
            <p:cNvPr id="40" name="Oval 39"/>
            <p:cNvSpPr/>
            <p:nvPr>
              <p:custDataLst>
                <p:tags r:id="rId6"/>
              </p:custDataLst>
            </p:nvPr>
          </p:nvSpPr>
          <p:spPr>
            <a:xfrm>
              <a:off x="317091" y="6615040"/>
              <a:ext cx="400049" cy="3999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dirty="0">
                  <a:solidFill>
                    <a:schemeClr val="tx1">
                      <a:lumMod val="50000"/>
                    </a:schemeClr>
                  </a:solidFill>
                  <a:latin typeface="+mn-lt"/>
                  <a:ea typeface="+mn-ea"/>
                  <a:cs typeface="Open Sans"/>
                </a:rPr>
                <a:t>7</a:t>
              </a:r>
              <a:endParaRPr lang="en-US" altLang="zh-CN" b="1" dirty="0">
                <a:solidFill>
                  <a:schemeClr val="tx1">
                    <a:lumMod val="50000"/>
                  </a:schemeClr>
                </a:solidFill>
                <a:latin typeface="+mn-lt"/>
                <a:ea typeface="+mn-ea"/>
                <a:cs typeface="Open Sans"/>
              </a:endParaRPr>
            </a:p>
          </p:txBody>
        </p:sp>
        <p:sp>
          <p:nvSpPr>
            <p:cNvPr id="41" name="Oval 40"/>
            <p:cNvSpPr/>
            <p:nvPr>
              <p:custDataLst>
                <p:tags r:id="rId7"/>
              </p:custDataLst>
            </p:nvPr>
          </p:nvSpPr>
          <p:spPr>
            <a:xfrm>
              <a:off x="317090" y="5114866"/>
              <a:ext cx="400049" cy="39990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dirty="0">
                  <a:solidFill>
                    <a:schemeClr val="tx1"/>
                  </a:solidFill>
                  <a:latin typeface="+mn-lt"/>
                  <a:ea typeface="+mn-ea"/>
                  <a:cs typeface="Open Sans"/>
                </a:rPr>
                <a:t>5</a:t>
              </a:r>
              <a:endParaRPr lang="en-US" altLang="zh-CN" b="1" dirty="0">
                <a:solidFill>
                  <a:schemeClr val="tx1"/>
                </a:solidFill>
                <a:latin typeface="+mn-lt"/>
                <a:ea typeface="+mn-ea"/>
                <a:cs typeface="Open Sans"/>
              </a:endParaRPr>
            </a:p>
          </p:txBody>
        </p:sp>
        <p:sp>
          <p:nvSpPr>
            <p:cNvPr id="42" name="Oval 41"/>
            <p:cNvSpPr/>
            <p:nvPr>
              <p:custDataLst>
                <p:tags r:id="rId8"/>
              </p:custDataLst>
            </p:nvPr>
          </p:nvSpPr>
          <p:spPr>
            <a:xfrm>
              <a:off x="317090" y="5931605"/>
              <a:ext cx="400049" cy="39779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a:solidFill>
                    <a:schemeClr val="tx1"/>
                  </a:solidFill>
                  <a:latin typeface="+mn-lt"/>
                  <a:ea typeface="+mn-ea"/>
                  <a:cs typeface="Open Sans"/>
                </a:rPr>
                <a:t>6</a:t>
              </a:r>
              <a:endParaRPr lang="en-US" altLang="zh-CN" b="1">
                <a:solidFill>
                  <a:schemeClr val="tx1"/>
                </a:solidFill>
                <a:latin typeface="+mn-lt"/>
                <a:ea typeface="+mn-ea"/>
                <a:cs typeface="Open Sans"/>
              </a:endParaRPr>
            </a:p>
          </p:txBody>
        </p:sp>
        <p:sp>
          <p:nvSpPr>
            <p:cNvPr id="43" name="Oval 42"/>
            <p:cNvSpPr/>
            <p:nvPr>
              <p:custDataLst>
                <p:tags r:id="rId9"/>
              </p:custDataLst>
            </p:nvPr>
          </p:nvSpPr>
          <p:spPr>
            <a:xfrm>
              <a:off x="286187" y="4356103"/>
              <a:ext cx="397933" cy="39779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defRPr/>
              </a:pPr>
              <a:r>
                <a:rPr lang="en-US" altLang="zh-CN" b="1" dirty="0">
                  <a:solidFill>
                    <a:schemeClr val="tx1"/>
                  </a:solidFill>
                  <a:latin typeface="+mn-lt"/>
                  <a:ea typeface="+mn-ea"/>
                  <a:cs typeface="Open Sans"/>
                </a:rPr>
                <a:t>4</a:t>
              </a:r>
              <a:endParaRPr lang="en-US" altLang="zh-CN" b="1" dirty="0">
                <a:solidFill>
                  <a:schemeClr val="tx1"/>
                </a:solidFill>
                <a:latin typeface="+mn-lt"/>
                <a:ea typeface="+mn-ea"/>
                <a:cs typeface="Open Sans"/>
              </a:endParaRPr>
            </a:p>
          </p:txBody>
        </p:sp>
      </p:grpSp>
      <p:sp>
        <p:nvSpPr>
          <p:cNvPr id="18" name="Rectangle: Rounded Corners 4"/>
          <p:cNvSpPr/>
          <p:nvPr>
            <p:custDataLst>
              <p:tags r:id="rId10"/>
            </p:custDataLst>
          </p:nvPr>
        </p:nvSpPr>
        <p:spPr>
          <a:xfrm>
            <a:off x="206057" y="1164584"/>
            <a:ext cx="8682407" cy="5334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orm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defRPr/>
            </a:pPr>
            <a:r>
              <a:rPr lang="zh-CN" altLang="en-US" dirty="0">
                <a:solidFill>
                  <a:schemeClr val="tx1"/>
                </a:solidFill>
                <a:latin typeface="+mn-lt"/>
              </a:rPr>
              <a:t>学位论文是</a:t>
            </a:r>
            <a:r>
              <a:rPr lang="zh-CN" altLang="en-US" sz="1900" dirty="0">
                <a:solidFill>
                  <a:schemeClr val="tx1"/>
                </a:solidFill>
                <a:latin typeface="+mn-lt"/>
              </a:rPr>
              <a:t>学术性</a:t>
            </a:r>
            <a:r>
              <a:rPr lang="zh-CN" altLang="en-US" dirty="0">
                <a:solidFill>
                  <a:schemeClr val="tx1"/>
                </a:solidFill>
                <a:latin typeface="+mn-lt"/>
              </a:rPr>
              <a:t>较强的同行评审文献，是针对广泛学科范围进行的原创性研究。</a:t>
            </a:r>
            <a:endParaRPr lang="zh-CN" altLang="en-US" dirty="0">
              <a:solidFill>
                <a:schemeClr val="tx1"/>
              </a:solidFill>
              <a:latin typeface="+mn-lt"/>
              <a:cs typeface="楷体" panose="02010609060101010101" pitchFamily="49" charset="-122"/>
            </a:endParaRPr>
          </a:p>
        </p:txBody>
      </p:sp>
      <p:grpSp>
        <p:nvGrpSpPr>
          <p:cNvPr id="83" name="组合 82"/>
          <p:cNvGrpSpPr/>
          <p:nvPr>
            <p:custDataLst>
              <p:tags r:id="rId11"/>
            </p:custDataLst>
          </p:nvPr>
        </p:nvGrpSpPr>
        <p:grpSpPr>
          <a:xfrm>
            <a:off x="6321654" y="2833779"/>
            <a:ext cx="2822346" cy="2393225"/>
            <a:chOff x="2186" y="3335"/>
            <a:chExt cx="14828" cy="12832"/>
          </a:xfrm>
        </p:grpSpPr>
        <p:pic>
          <p:nvPicPr>
            <p:cNvPr id="84" name="图片 83" descr="border"/>
            <p:cNvPicPr>
              <a:picLocks noChangeAspect="1"/>
            </p:cNvPicPr>
            <p:nvPr>
              <p:custDataLst>
                <p:tags r:id="rId12"/>
              </p:custDataLst>
            </p:nvPr>
          </p:nvPicPr>
          <p:blipFill>
            <a:blip r:embed="rId13"/>
            <a:stretch>
              <a:fillRect/>
            </a:stretch>
          </p:blipFill>
          <p:spPr>
            <a:xfrm>
              <a:off x="2186" y="3335"/>
              <a:ext cx="14828" cy="12833"/>
            </a:xfrm>
            <a:prstGeom prst="rect">
              <a:avLst/>
            </a:prstGeom>
          </p:spPr>
        </p:pic>
        <p:pic>
          <p:nvPicPr>
            <p:cNvPr id="85" name="图片 84" descr="F:/素材图片2/xiezuo20241118-175214.jpgxiezuo20241118-175214"/>
            <p:cNvPicPr>
              <a:picLocks noChangeAspect="1"/>
            </p:cNvPicPr>
            <p:nvPr>
              <p:custDataLst>
                <p:tags r:id="rId14"/>
              </p:custDataLst>
            </p:nvPr>
          </p:nvPicPr>
          <p:blipFill>
            <a:blip r:embed="rId15" cstate="email"/>
            <a:srcRect l="23878" t="11915" r="23878" b="11915"/>
            <a:stretch>
              <a:fillRect/>
            </a:stretch>
          </p:blipFill>
          <p:spPr>
            <a:xfrm>
              <a:off x="2530" y="4046"/>
              <a:ext cx="7303" cy="11411"/>
            </a:xfrm>
            <a:custGeom>
              <a:avLst/>
              <a:gdLst/>
              <a:ahLst/>
              <a:cxnLst>
                <a:cxn ang="3">
                  <a:pos x="hc" y="t"/>
                </a:cxn>
                <a:cxn ang="cd2">
                  <a:pos x="l" y="vc"/>
                </a:cxn>
                <a:cxn ang="cd4">
                  <a:pos x="hc" y="b"/>
                </a:cxn>
                <a:cxn ang="0">
                  <a:pos x="r" y="vc"/>
                </a:cxn>
              </a:cxnLst>
              <a:rect l="l" t="t" r="r" b="b"/>
              <a:pathLst>
                <a:path w="4230" h="6609">
                  <a:moveTo>
                    <a:pt x="135" y="0"/>
                  </a:moveTo>
                  <a:lnTo>
                    <a:pt x="4095" y="0"/>
                  </a:lnTo>
                  <a:cubicBezTo>
                    <a:pt x="4170" y="0"/>
                    <a:pt x="4230" y="60"/>
                    <a:pt x="4230" y="135"/>
                  </a:cubicBezTo>
                  <a:lnTo>
                    <a:pt x="4217" y="3229"/>
                  </a:lnTo>
                  <a:cubicBezTo>
                    <a:pt x="4190" y="3244"/>
                    <a:pt x="3862" y="3148"/>
                    <a:pt x="3798" y="3470"/>
                  </a:cubicBezTo>
                  <a:cubicBezTo>
                    <a:pt x="3775" y="3712"/>
                    <a:pt x="4028" y="3869"/>
                    <a:pt x="4220" y="3989"/>
                  </a:cubicBezTo>
                  <a:lnTo>
                    <a:pt x="4230" y="6473"/>
                  </a:lnTo>
                  <a:cubicBezTo>
                    <a:pt x="4230" y="6548"/>
                    <a:pt x="4181" y="6615"/>
                    <a:pt x="4095" y="6608"/>
                  </a:cubicBezTo>
                  <a:lnTo>
                    <a:pt x="135" y="6608"/>
                  </a:lnTo>
                  <a:cubicBezTo>
                    <a:pt x="60" y="6608"/>
                    <a:pt x="0" y="6548"/>
                    <a:pt x="0" y="6473"/>
                  </a:cubicBezTo>
                  <a:lnTo>
                    <a:pt x="0" y="135"/>
                  </a:lnTo>
                  <a:cubicBezTo>
                    <a:pt x="0" y="60"/>
                    <a:pt x="60" y="0"/>
                    <a:pt x="135" y="0"/>
                  </a:cubicBezTo>
                  <a:close/>
                </a:path>
              </a:pathLst>
            </a:custGeom>
          </p:spPr>
        </p:pic>
      </p:grpSp>
      <p:sp>
        <p:nvSpPr>
          <p:cNvPr id="12" name="标题 11"/>
          <p:cNvSpPr>
            <a:spLocks noGrp="1"/>
          </p:cNvSpPr>
          <p:nvPr>
            <p:ph type="title"/>
            <p:custDataLst>
              <p:tags r:id="rId16"/>
            </p:custDataLst>
          </p:nvPr>
        </p:nvSpPr>
        <p:spPr>
          <a:xfrm>
            <a:off x="298760" y="346103"/>
            <a:ext cx="8100000" cy="540000"/>
          </a:xfrm>
        </p:spPr>
        <p:txBody>
          <a:bodyPr vert="horz" wrap="square" lIns="0" tIns="0" rIns="0" bIns="0" rtlCol="0" anchor="b">
            <a:normAutofit/>
          </a:bodyPr>
          <a:lstStyle/>
          <a:p>
            <a:pPr lvl="0" algn="l">
              <a:buClrTx/>
              <a:buSzTx/>
              <a:buFontTx/>
            </a:pPr>
            <a:r>
              <a:rPr lang="zh-CN" altLang="en-US" sz="3200" dirty="0">
                <a:sym typeface="+mn-ea"/>
              </a:rPr>
              <a:t>学位论文的学术价值</a:t>
            </a:r>
            <a:endParaRPr lang="zh-CN" altLang="en-US" sz="3200" dirty="0">
              <a:sym typeface="+mn-ea"/>
            </a:endParaRPr>
          </a:p>
        </p:txBody>
      </p:sp>
    </p:spTree>
    <p:custDataLst>
      <p:tags r:id="rId17"/>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10795" y="1176655"/>
            <a:ext cx="9133205" cy="5681345"/>
          </a:xfrm>
          <a:prstGeom prst="rect">
            <a:avLst/>
          </a:prstGeom>
        </p:spPr>
      </p:pic>
      <p:cxnSp>
        <p:nvCxnSpPr>
          <p:cNvPr id="40963" name="直接箭头连接符 5"/>
          <p:cNvCxnSpPr>
            <a:cxnSpLocks noChangeShapeType="1"/>
          </p:cNvCxnSpPr>
          <p:nvPr/>
        </p:nvCxnSpPr>
        <p:spPr bwMode="auto">
          <a:xfrm flipV="1">
            <a:off x="6229350" y="2595880"/>
            <a:ext cx="957580" cy="25527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0964" name="TextBox 6"/>
          <p:cNvSpPr txBox="1">
            <a:spLocks noChangeArrowheads="1"/>
          </p:cNvSpPr>
          <p:nvPr/>
        </p:nvSpPr>
        <p:spPr bwMode="auto">
          <a:xfrm>
            <a:off x="4113213" y="2673350"/>
            <a:ext cx="2262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下载及在线访问论文</a:t>
            </a:r>
            <a:endParaRPr lang="zh-CN" altLang="en-US">
              <a:solidFill>
                <a:srgbClr val="FF0000"/>
              </a:solidFill>
              <a:ea typeface="宋体" panose="02010600030101010101" pitchFamily="2" charset="-122"/>
            </a:endParaRPr>
          </a:p>
        </p:txBody>
      </p:sp>
      <p:cxnSp>
        <p:nvCxnSpPr>
          <p:cNvPr id="40965" name="直接箭头连接符 14"/>
          <p:cNvCxnSpPr>
            <a:cxnSpLocks noChangeShapeType="1"/>
            <a:stCxn id="40966" idx="1"/>
          </p:cNvCxnSpPr>
          <p:nvPr/>
        </p:nvCxnSpPr>
        <p:spPr bwMode="auto">
          <a:xfrm flipH="1">
            <a:off x="1354455" y="2054860"/>
            <a:ext cx="1871980" cy="9017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0966" name="TextBox 15"/>
          <p:cNvSpPr txBox="1">
            <a:spLocks noChangeArrowheads="1"/>
          </p:cNvSpPr>
          <p:nvPr/>
        </p:nvSpPr>
        <p:spPr bwMode="auto">
          <a:xfrm>
            <a:off x="3226118" y="1731328"/>
            <a:ext cx="282733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摘要索引、全文、预览满足读者多种阅读需求</a:t>
            </a:r>
            <a:endParaRPr lang="zh-CN" altLang="en-US">
              <a:solidFill>
                <a:srgbClr val="FF0000"/>
              </a:solidFill>
              <a:ea typeface="宋体" panose="02010600030101010101" pitchFamily="2" charset="-122"/>
            </a:endParaRPr>
          </a:p>
        </p:txBody>
      </p:sp>
      <p:sp>
        <p:nvSpPr>
          <p:cNvPr id="40967"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论文详情页面</a:t>
            </a:r>
            <a:endParaRPr lang="zh-CN" altLang="en-US" sz="2800">
              <a:ea typeface="宋体" panose="02010600030101010101" pitchFamily="2" charset="-122"/>
            </a:endParaRPr>
          </a:p>
        </p:txBody>
      </p:sp>
      <p:cxnSp>
        <p:nvCxnSpPr>
          <p:cNvPr id="40968" name="直接箭头连接符 5"/>
          <p:cNvCxnSpPr>
            <a:cxnSpLocks noChangeShapeType="1"/>
          </p:cNvCxnSpPr>
          <p:nvPr/>
        </p:nvCxnSpPr>
        <p:spPr bwMode="auto">
          <a:xfrm flipH="1">
            <a:off x="1785620" y="2851150"/>
            <a:ext cx="2327910" cy="17653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0969" name="TextBox 6"/>
          <p:cNvSpPr txBox="1">
            <a:spLocks noChangeArrowheads="1"/>
          </p:cNvSpPr>
          <p:nvPr/>
        </p:nvSpPr>
        <p:spPr bwMode="auto">
          <a:xfrm>
            <a:off x="3586163" y="3027363"/>
            <a:ext cx="3186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支持导入第三方文献整理软件</a:t>
            </a:r>
            <a:endParaRPr lang="zh-CN" altLang="en-US">
              <a:solidFill>
                <a:srgbClr val="FF0000"/>
              </a:solidFill>
              <a:ea typeface="宋体" panose="02010600030101010101" pitchFamily="2" charset="-122"/>
            </a:endParaRPr>
          </a:p>
        </p:txBody>
      </p:sp>
      <p:cxnSp>
        <p:nvCxnSpPr>
          <p:cNvPr id="40970" name="直接箭头连接符 5"/>
          <p:cNvCxnSpPr>
            <a:cxnSpLocks noChangeShapeType="1"/>
            <a:stCxn id="40969" idx="3"/>
          </p:cNvCxnSpPr>
          <p:nvPr/>
        </p:nvCxnSpPr>
        <p:spPr bwMode="auto">
          <a:xfrm flipV="1">
            <a:off x="6772275" y="2811780"/>
            <a:ext cx="414655" cy="40068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cxnSp>
        <p:nvCxnSpPr>
          <p:cNvPr id="40972" name="直接箭头连接符 5"/>
          <p:cNvCxnSpPr>
            <a:cxnSpLocks noChangeShapeType="1"/>
          </p:cNvCxnSpPr>
          <p:nvPr/>
        </p:nvCxnSpPr>
        <p:spPr bwMode="auto">
          <a:xfrm flipV="1">
            <a:off x="7546975" y="2595245"/>
            <a:ext cx="54610" cy="117856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0973" name="TextBox 6"/>
          <p:cNvSpPr txBox="1">
            <a:spLocks noChangeArrowheads="1"/>
          </p:cNvSpPr>
          <p:nvPr/>
        </p:nvSpPr>
        <p:spPr bwMode="auto">
          <a:xfrm>
            <a:off x="6946583" y="5654675"/>
            <a:ext cx="22621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四台服务器数据同步</a:t>
            </a:r>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确保全文稳定可下载</a:t>
            </a:r>
            <a:endParaRPr lang="zh-CN" altLang="en-US">
              <a:solidFill>
                <a:srgbClr val="FF0000"/>
              </a:solidFill>
              <a:ea typeface="宋体" panose="02010600030101010101" pitchFamily="2" charset="-122"/>
            </a:endParaRPr>
          </a:p>
        </p:txBody>
      </p:sp>
      <p:pic>
        <p:nvPicPr>
          <p:cNvPr id="3" name="图片 2"/>
          <p:cNvPicPr>
            <a:picLocks noChangeAspect="1"/>
          </p:cNvPicPr>
          <p:nvPr/>
        </p:nvPicPr>
        <p:blipFill>
          <a:blip r:embed="rId2"/>
          <a:stretch>
            <a:fillRect/>
          </a:stretch>
        </p:blipFill>
        <p:spPr>
          <a:xfrm>
            <a:off x="6898640" y="3819525"/>
            <a:ext cx="1762125" cy="1485900"/>
          </a:xfrm>
          <a:prstGeom prst="rect">
            <a:avLst/>
          </a:prstGeom>
        </p:spPr>
      </p:pic>
      <p:sp>
        <p:nvSpPr>
          <p:cNvPr id="4" name="TextBox 6"/>
          <p:cNvSpPr txBox="1">
            <a:spLocks noChangeArrowheads="1"/>
          </p:cNvSpPr>
          <p:nvPr/>
        </p:nvSpPr>
        <p:spPr bwMode="auto">
          <a:xfrm>
            <a:off x="7330758" y="1679893"/>
            <a:ext cx="178308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如无全文此项</a:t>
            </a:r>
            <a:endParaRPr lang="zh-CN" altLang="en-US">
              <a:solidFill>
                <a:srgbClr val="FF0000"/>
              </a:solidFill>
              <a:ea typeface="宋体" panose="02010600030101010101" pitchFamily="2" charset="-122"/>
            </a:endParaRPr>
          </a:p>
          <a:p>
            <a:r>
              <a:rPr lang="zh-CN" altLang="en-US">
                <a:solidFill>
                  <a:srgbClr val="FF0000"/>
                </a:solidFill>
                <a:ea typeface="宋体" panose="02010600030101010101" pitchFamily="2" charset="-122"/>
              </a:rPr>
              <a:t>可点击进行荐购</a:t>
            </a:r>
            <a:endParaRPr lang="zh-CN" altLang="en-US">
              <a:solidFill>
                <a:srgbClr val="FF0000"/>
              </a:solidFill>
              <a:ea typeface="宋体" panose="02010600030101010101" pitchFamily="2" charset="-122"/>
            </a:endParaRPr>
          </a:p>
        </p:txBody>
      </p:sp>
      <p:cxnSp>
        <p:nvCxnSpPr>
          <p:cNvPr id="5" name="直接箭头连接符 5"/>
          <p:cNvCxnSpPr>
            <a:cxnSpLocks noChangeShapeType="1"/>
          </p:cNvCxnSpPr>
          <p:nvPr/>
        </p:nvCxnSpPr>
        <p:spPr bwMode="auto">
          <a:xfrm flipH="1">
            <a:off x="8267065" y="2273935"/>
            <a:ext cx="143510" cy="6096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0" y="1202690"/>
            <a:ext cx="9145270" cy="5655310"/>
          </a:xfrm>
          <a:prstGeom prst="rect">
            <a:avLst/>
          </a:prstGeom>
        </p:spPr>
      </p:pic>
      <p:sp>
        <p:nvSpPr>
          <p:cNvPr id="41987" name="TextBox 10"/>
          <p:cNvSpPr txBox="1">
            <a:spLocks noChangeArrowheads="1"/>
          </p:cNvSpPr>
          <p:nvPr/>
        </p:nvSpPr>
        <p:spPr bwMode="auto">
          <a:xfrm>
            <a:off x="5002848" y="4898390"/>
            <a:ext cx="414813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支持标题、摘要、作者、学校、学科、</a:t>
            </a:r>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论文年度等筛选条件，可按照“</a:t>
            </a:r>
            <a:r>
              <a:rPr lang="en-US" altLang="zh-CN">
                <a:solidFill>
                  <a:srgbClr val="FF0000"/>
                </a:solidFill>
                <a:ea typeface="宋体" panose="02010600030101010101" pitchFamily="2" charset="-122"/>
              </a:rPr>
              <a:t>AND</a:t>
            </a:r>
            <a:r>
              <a:rPr lang="zh-CN" altLang="en-US">
                <a:solidFill>
                  <a:srgbClr val="FF0000"/>
                </a:solidFill>
                <a:ea typeface="宋体" panose="02010600030101010101" pitchFamily="2" charset="-122"/>
              </a:rPr>
              <a:t>”</a:t>
            </a:r>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a:t>
            </a:r>
            <a:r>
              <a:rPr lang="en-US" altLang="zh-CN">
                <a:solidFill>
                  <a:srgbClr val="FF0000"/>
                </a:solidFill>
                <a:ea typeface="宋体" panose="02010600030101010101" pitchFamily="2" charset="-122"/>
              </a:rPr>
              <a:t>OR</a:t>
            </a:r>
            <a:r>
              <a:rPr lang="zh-CN" altLang="en-US">
                <a:solidFill>
                  <a:srgbClr val="FF0000"/>
                </a:solidFill>
                <a:ea typeface="宋体" panose="02010600030101010101" pitchFamily="2" charset="-122"/>
              </a:rPr>
              <a:t>”等逻辑字符限定检索条件</a:t>
            </a:r>
            <a:endParaRPr lang="zh-CN" altLang="en-US">
              <a:solidFill>
                <a:srgbClr val="FF0000"/>
              </a:solidFill>
              <a:ea typeface="宋体" panose="02010600030101010101" pitchFamily="2" charset="-122"/>
            </a:endParaRPr>
          </a:p>
        </p:txBody>
      </p:sp>
      <p:cxnSp>
        <p:nvCxnSpPr>
          <p:cNvPr id="41988" name="直接箭头连接符 9"/>
          <p:cNvCxnSpPr>
            <a:cxnSpLocks noChangeShapeType="1"/>
          </p:cNvCxnSpPr>
          <p:nvPr/>
        </p:nvCxnSpPr>
        <p:spPr bwMode="auto">
          <a:xfrm flipH="1" flipV="1">
            <a:off x="5291773" y="3572828"/>
            <a:ext cx="719137" cy="126682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198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高级检索</a:t>
            </a:r>
            <a:endParaRPr lang="zh-CN" altLang="en-US" sz="2800">
              <a:ea typeface="宋体" panose="02010600030101010101" pitchFamily="2"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idx="1"/>
          </p:nvPr>
        </p:nvSpPr>
        <p:spPr>
          <a:xfrm>
            <a:off x="3395980" y="1268730"/>
            <a:ext cx="5624830" cy="4845050"/>
          </a:xfrm>
        </p:spPr>
        <p:txBody>
          <a:bodyPr/>
          <a:p>
            <a:pPr marL="0" indent="0">
              <a:buNone/>
            </a:pPr>
            <a:r>
              <a:rPr lang="zh-CN" altLang="en-US" sz="2400">
                <a:solidFill>
                  <a:schemeClr val="accent1"/>
                </a:solidFill>
              </a:rPr>
              <a:t>安德鲁</a:t>
            </a:r>
            <a:r>
              <a:rPr lang="en-US" altLang="zh-CN" sz="2400">
                <a:solidFill>
                  <a:schemeClr val="accent1"/>
                </a:solidFill>
              </a:rPr>
              <a:t>·</a:t>
            </a:r>
            <a:r>
              <a:rPr lang="zh-CN" altLang="en-US" sz="2400">
                <a:solidFill>
                  <a:schemeClr val="accent1"/>
                </a:solidFill>
              </a:rPr>
              <a:t>巴托（</a:t>
            </a:r>
            <a:r>
              <a:rPr lang="en-US" altLang="zh-CN" sz="2400">
                <a:solidFill>
                  <a:schemeClr val="accent1"/>
                </a:solidFill>
              </a:rPr>
              <a:t>Andrew G. Barto</a:t>
            </a:r>
            <a:r>
              <a:rPr lang="zh-CN" altLang="en-US" sz="2400">
                <a:solidFill>
                  <a:schemeClr val="accent1"/>
                </a:solidFill>
              </a:rPr>
              <a:t>，</a:t>
            </a:r>
            <a:r>
              <a:rPr lang="en-US" altLang="zh-CN" sz="2400">
                <a:solidFill>
                  <a:schemeClr val="accent1"/>
                </a:solidFill>
              </a:rPr>
              <a:t>1948-</a:t>
            </a:r>
            <a:r>
              <a:rPr lang="zh-CN" altLang="en-US" sz="2400">
                <a:solidFill>
                  <a:schemeClr val="accent1"/>
                </a:solidFill>
              </a:rPr>
              <a:t>），曾任</a:t>
            </a:r>
            <a:r>
              <a:rPr lang="zh-CN" altLang="en-US" sz="2400">
                <a:solidFill>
                  <a:srgbClr val="FF0000"/>
                </a:solidFill>
              </a:rPr>
              <a:t>马萨诸塞大学阿默斯特分校</a:t>
            </a:r>
            <a:r>
              <a:rPr lang="zh-CN" altLang="en-US" sz="2400">
                <a:solidFill>
                  <a:schemeClr val="accent1"/>
                </a:solidFill>
              </a:rPr>
              <a:t>信息与计算机科学系教授。他于</a:t>
            </a:r>
            <a:r>
              <a:rPr lang="en-US" altLang="zh-CN" sz="2400">
                <a:solidFill>
                  <a:schemeClr val="accent1"/>
                </a:solidFill>
              </a:rPr>
              <a:t>1977 </a:t>
            </a:r>
            <a:r>
              <a:rPr lang="zh-CN" altLang="en-US" sz="2400">
                <a:solidFill>
                  <a:schemeClr val="accent1"/>
                </a:solidFill>
              </a:rPr>
              <a:t>年加入该校，先后担任博士后研究员、副教授、教授，曾任系主任。巴托获得</a:t>
            </a:r>
            <a:r>
              <a:rPr lang="zh-CN" altLang="en-US" sz="2400">
                <a:solidFill>
                  <a:srgbClr val="FF0000"/>
                </a:solidFill>
              </a:rPr>
              <a:t>密歇根大学</a:t>
            </a:r>
            <a:r>
              <a:rPr lang="zh-CN" altLang="en-US" sz="2400">
                <a:solidFill>
                  <a:schemeClr val="accent1"/>
                </a:solidFill>
              </a:rPr>
              <a:t>数学学士、</a:t>
            </a:r>
            <a:r>
              <a:rPr lang="zh-CN" altLang="en-US" sz="2400">
                <a:solidFill>
                  <a:srgbClr val="FF0000"/>
                </a:solidFill>
              </a:rPr>
              <a:t>计算机与通信科学硕士及博士学位</a:t>
            </a:r>
            <a:r>
              <a:rPr lang="zh-CN" altLang="en-US" sz="2400">
                <a:solidFill>
                  <a:schemeClr val="accent1"/>
                </a:solidFill>
              </a:rPr>
              <a:t>，马萨诸塞大学神经科学终身成就奖、</a:t>
            </a:r>
            <a:r>
              <a:rPr lang="en-US" altLang="zh-CN" sz="2400">
                <a:solidFill>
                  <a:schemeClr val="accent1"/>
                </a:solidFill>
              </a:rPr>
              <a:t>IJCAI</a:t>
            </a:r>
            <a:r>
              <a:rPr lang="zh-CN" altLang="en-US" sz="2400">
                <a:solidFill>
                  <a:schemeClr val="accent1"/>
                </a:solidFill>
              </a:rPr>
              <a:t>卓越研究奖和</a:t>
            </a:r>
            <a:r>
              <a:rPr lang="en-US" altLang="zh-CN" sz="2400">
                <a:solidFill>
                  <a:schemeClr val="accent1"/>
                </a:solidFill>
              </a:rPr>
              <a:t>IEEE</a:t>
            </a:r>
            <a:r>
              <a:rPr lang="zh-CN" altLang="en-US" sz="2400">
                <a:solidFill>
                  <a:schemeClr val="accent1"/>
                </a:solidFill>
              </a:rPr>
              <a:t>神经网络学会先驱奖；电气电子工程师协会（</a:t>
            </a:r>
            <a:r>
              <a:rPr lang="en-US" altLang="zh-CN" sz="2400">
                <a:solidFill>
                  <a:schemeClr val="accent1"/>
                </a:solidFill>
              </a:rPr>
              <a:t>IEEE</a:t>
            </a:r>
            <a:r>
              <a:rPr lang="zh-CN" altLang="en-US" sz="2400">
                <a:solidFill>
                  <a:schemeClr val="accent1"/>
                </a:solidFill>
              </a:rPr>
              <a:t>）会士、美国科学促进协会（</a:t>
            </a:r>
            <a:r>
              <a:rPr lang="en-US" altLang="zh-CN" sz="2400">
                <a:solidFill>
                  <a:schemeClr val="accent1"/>
                </a:solidFill>
              </a:rPr>
              <a:t>AAAS</a:t>
            </a:r>
            <a:r>
              <a:rPr lang="zh-CN" altLang="en-US" sz="2400">
                <a:solidFill>
                  <a:schemeClr val="accent1"/>
                </a:solidFill>
              </a:rPr>
              <a:t>）的会士。</a:t>
            </a:r>
            <a:endParaRPr lang="zh-CN" altLang="en-US" sz="2400">
              <a:solidFill>
                <a:schemeClr val="accent1"/>
              </a:solidFill>
            </a:endParaRPr>
          </a:p>
        </p:txBody>
      </p:sp>
      <p:pic>
        <p:nvPicPr>
          <p:cNvPr id="4" name="图片 3" descr="安德鲁·巴托34"/>
          <p:cNvPicPr>
            <a:picLocks noChangeAspect="1"/>
          </p:cNvPicPr>
          <p:nvPr/>
        </p:nvPicPr>
        <p:blipFill>
          <a:blip r:embed="rId1"/>
          <a:stretch>
            <a:fillRect/>
          </a:stretch>
        </p:blipFill>
        <p:spPr>
          <a:xfrm>
            <a:off x="323850" y="1844675"/>
            <a:ext cx="2843530" cy="3228340"/>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10160" y="1170305"/>
            <a:ext cx="9133840" cy="5687695"/>
          </a:xfrm>
          <a:prstGeom prst="rect">
            <a:avLst/>
          </a:prstGeom>
        </p:spPr>
      </p:pic>
      <p:cxnSp>
        <p:nvCxnSpPr>
          <p:cNvPr id="43011" name="直接箭头连接符 5"/>
          <p:cNvCxnSpPr>
            <a:cxnSpLocks noChangeShapeType="1"/>
            <a:stCxn id="43012" idx="1"/>
          </p:cNvCxnSpPr>
          <p:nvPr/>
        </p:nvCxnSpPr>
        <p:spPr bwMode="auto">
          <a:xfrm flipH="1">
            <a:off x="2699385" y="2033270"/>
            <a:ext cx="2592705" cy="39179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3012" name="TextBox 6"/>
          <p:cNvSpPr txBox="1">
            <a:spLocks noChangeArrowheads="1"/>
          </p:cNvSpPr>
          <p:nvPr/>
        </p:nvSpPr>
        <p:spPr bwMode="auto">
          <a:xfrm>
            <a:off x="5292090" y="1848803"/>
            <a:ext cx="38404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ea typeface="宋体" panose="02010600030101010101" pitchFamily="2" charset="-122"/>
              </a:rPr>
              <a:t>作者名拆分成独立词汇精确定位字段</a:t>
            </a:r>
            <a:endParaRPr lang="zh-CN">
              <a:solidFill>
                <a:srgbClr val="FF0000"/>
              </a:solidFill>
              <a:ea typeface="宋体" panose="02010600030101010101" pitchFamily="2" charset="-122"/>
            </a:endParaRPr>
          </a:p>
        </p:txBody>
      </p:sp>
      <p:sp>
        <p:nvSpPr>
          <p:cNvPr id="43013"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分类导航</a:t>
            </a:r>
            <a:endParaRPr lang="zh-CN" altLang="en-US" sz="2800">
              <a:ea typeface="宋体" panose="02010600030101010101" pitchFamily="2" charset="-122"/>
            </a:endParaRPr>
          </a:p>
        </p:txBody>
      </p:sp>
      <p:sp>
        <p:nvSpPr>
          <p:cNvPr id="43014" name="TextBox 6"/>
          <p:cNvSpPr txBox="1">
            <a:spLocks noChangeArrowheads="1"/>
          </p:cNvSpPr>
          <p:nvPr/>
        </p:nvSpPr>
        <p:spPr bwMode="auto">
          <a:xfrm>
            <a:off x="5003800" y="5301615"/>
            <a:ext cx="42976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ea typeface="宋体" panose="02010600030101010101" pitchFamily="2" charset="-122"/>
              </a:rPr>
              <a:t>可以通过发文机构或执教机构来精准定位</a:t>
            </a:r>
            <a:endParaRPr lang="zh-CN">
              <a:solidFill>
                <a:srgbClr val="FF0000"/>
              </a:solidFill>
              <a:ea typeface="宋体" panose="02010600030101010101" pitchFamily="2" charset="-122"/>
            </a:endParaRPr>
          </a:p>
        </p:txBody>
      </p:sp>
      <p:cxnSp>
        <p:nvCxnSpPr>
          <p:cNvPr id="43015" name="直接箭头连接符 5"/>
          <p:cNvCxnSpPr>
            <a:cxnSpLocks noChangeShapeType="1"/>
          </p:cNvCxnSpPr>
          <p:nvPr/>
        </p:nvCxnSpPr>
        <p:spPr bwMode="auto">
          <a:xfrm flipH="1" flipV="1">
            <a:off x="5652135" y="4152583"/>
            <a:ext cx="586105" cy="114871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cxnSp>
        <p:nvCxnSpPr>
          <p:cNvPr id="4" name="直接箭头连接符 5"/>
          <p:cNvCxnSpPr>
            <a:cxnSpLocks noChangeShapeType="1"/>
            <a:stCxn id="43012" idx="1"/>
          </p:cNvCxnSpPr>
          <p:nvPr>
            <p:custDataLst>
              <p:tags r:id="rId2"/>
            </p:custDataLst>
          </p:nvPr>
        </p:nvCxnSpPr>
        <p:spPr bwMode="auto">
          <a:xfrm flipH="1">
            <a:off x="3131820" y="2033270"/>
            <a:ext cx="2160270" cy="67945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6" name="TextBox 6"/>
          <p:cNvSpPr txBox="1">
            <a:spLocks noChangeArrowheads="1"/>
          </p:cNvSpPr>
          <p:nvPr/>
        </p:nvSpPr>
        <p:spPr bwMode="auto">
          <a:xfrm>
            <a:off x="6588125" y="3072765"/>
            <a:ext cx="22402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ea typeface="宋体" panose="02010600030101010101" pitchFamily="2" charset="-122"/>
              </a:rPr>
              <a:t>可以增加检索栏数量</a:t>
            </a:r>
            <a:endParaRPr lang="zh-CN">
              <a:solidFill>
                <a:srgbClr val="FF0000"/>
              </a:solidFill>
              <a:ea typeface="宋体" panose="02010600030101010101" pitchFamily="2" charset="-122"/>
            </a:endParaRPr>
          </a:p>
        </p:txBody>
      </p:sp>
      <p:cxnSp>
        <p:nvCxnSpPr>
          <p:cNvPr id="7" name="直接箭头连接符 5"/>
          <p:cNvCxnSpPr>
            <a:cxnSpLocks noChangeShapeType="1"/>
            <a:stCxn id="6" idx="0"/>
          </p:cNvCxnSpPr>
          <p:nvPr/>
        </p:nvCxnSpPr>
        <p:spPr bwMode="auto">
          <a:xfrm flipH="1" flipV="1">
            <a:off x="6372225" y="2572068"/>
            <a:ext cx="1336040" cy="50038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988" name="直接箭头连接符 9"/>
          <p:cNvCxnSpPr>
            <a:cxnSpLocks noChangeShapeType="1"/>
          </p:cNvCxnSpPr>
          <p:nvPr/>
        </p:nvCxnSpPr>
        <p:spPr bwMode="auto">
          <a:xfrm flipH="1">
            <a:off x="3563620" y="5026343"/>
            <a:ext cx="214630" cy="70675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6" name="矩形 5"/>
          <p:cNvSpPr/>
          <p:nvPr>
            <p:custDataLst>
              <p:tags r:id="rId1"/>
            </p:custDataLst>
          </p:nvPr>
        </p:nvSpPr>
        <p:spPr>
          <a:xfrm>
            <a:off x="3275965" y="5733415"/>
            <a:ext cx="924560" cy="180975"/>
          </a:xfrm>
          <a:prstGeom prst="rect">
            <a:avLst/>
          </a:prstGeom>
          <a:noFill/>
          <a:ln w="190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
            <a:pPr marL="0" marR="0" indent="0" algn="l" defTabSz="914400" rtl="0" eaLnBrk="0" fontAlgn="base" latinLnBrk="0" hangingPunct="0">
              <a:lnSpc>
                <a:spcPct val="100000"/>
              </a:lnSpc>
              <a:spcBef>
                <a:spcPct val="0"/>
              </a:spcBef>
              <a:spcAft>
                <a:spcPct val="0"/>
              </a:spcAft>
              <a:buClrTx/>
              <a:buSzTx/>
              <a:buFontTx/>
              <a:buNone/>
            </a:pPr>
            <a:endParaRPr kumimoji="0" lang="en-US" altLang="en-US" sz="1800" b="0" i="0" u="none" strike="noStrike" cap="none" normalizeH="0" baseline="0" smtClean="0">
              <a:ln>
                <a:noFill/>
              </a:ln>
              <a:solidFill>
                <a:schemeClr val="tx1"/>
              </a:solidFill>
              <a:effectLst/>
              <a:latin typeface="Times New Roman" panose="02020603050405020304" pitchFamily="18" charset="0"/>
            </a:endParaRPr>
          </a:p>
        </p:txBody>
      </p:sp>
      <p:sp>
        <p:nvSpPr>
          <p:cNvPr id="4" name="矩形 3"/>
          <p:cNvSpPr/>
          <p:nvPr>
            <p:custDataLst>
              <p:tags r:id="rId2"/>
            </p:custDataLst>
          </p:nvPr>
        </p:nvSpPr>
        <p:spPr>
          <a:xfrm>
            <a:off x="4903470" y="5229225"/>
            <a:ext cx="1427480" cy="220345"/>
          </a:xfrm>
          <a:prstGeom prst="rect">
            <a:avLst/>
          </a:prstGeom>
          <a:noFill/>
          <a:ln w="190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
            <a:pPr marL="0" marR="0" indent="0" algn="l" defTabSz="914400" rtl="0" eaLnBrk="0" fontAlgn="base" latinLnBrk="0" hangingPunct="0">
              <a:lnSpc>
                <a:spcPct val="100000"/>
              </a:lnSpc>
              <a:spcBef>
                <a:spcPct val="0"/>
              </a:spcBef>
              <a:spcAft>
                <a:spcPct val="0"/>
              </a:spcAft>
              <a:buClrTx/>
              <a:buSzTx/>
              <a:buFontTx/>
              <a:buNone/>
            </a:pPr>
            <a:endParaRPr kumimoji="0" lang="en-US" altLang="en-US" sz="1800" b="0" i="0" u="none" strike="noStrike" cap="none" normalizeH="0" baseline="0" smtClean="0">
              <a:ln>
                <a:noFill/>
              </a:ln>
              <a:solidFill>
                <a:schemeClr val="tx1"/>
              </a:solidFill>
              <a:effectLst/>
              <a:latin typeface="Times New Roman" panose="02020603050405020304" pitchFamily="18" charset="0"/>
            </a:endParaRPr>
          </a:p>
        </p:txBody>
      </p:sp>
      <p:pic>
        <p:nvPicPr>
          <p:cNvPr id="2" name="图片 1"/>
          <p:cNvPicPr/>
          <p:nvPr/>
        </p:nvPicPr>
        <p:blipFill>
          <a:blip r:embed="rId3"/>
          <a:stretch>
            <a:fillRect/>
          </a:stretch>
        </p:blipFill>
        <p:spPr>
          <a:xfrm>
            <a:off x="-35560" y="1205865"/>
            <a:ext cx="9179560" cy="5652135"/>
          </a:xfrm>
          <a:prstGeom prst="rect">
            <a:avLst/>
          </a:prstGeom>
        </p:spPr>
      </p:pic>
      <p:sp>
        <p:nvSpPr>
          <p:cNvPr id="41987" name="TextBox 10"/>
          <p:cNvSpPr txBox="1">
            <a:spLocks noChangeArrowheads="1"/>
          </p:cNvSpPr>
          <p:nvPr/>
        </p:nvSpPr>
        <p:spPr bwMode="auto">
          <a:xfrm>
            <a:off x="3419793" y="3573145"/>
            <a:ext cx="42976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ea typeface="宋体" panose="02010600030101010101" pitchFamily="2" charset="-122"/>
              </a:rPr>
              <a:t>可根据论文机构、时间等因素判别对应性</a:t>
            </a:r>
            <a:endParaRPr lang="zh-CN">
              <a:solidFill>
                <a:srgbClr val="FF0000"/>
              </a:solidFill>
              <a:ea typeface="宋体" panose="02010600030101010101" pitchFamily="2" charset="-122"/>
            </a:endParaRPr>
          </a:p>
        </p:txBody>
      </p:sp>
      <p:sp>
        <p:nvSpPr>
          <p:cNvPr id="4198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高级检索</a:t>
            </a:r>
            <a:endParaRPr lang="zh-CN" altLang="en-US" sz="2800">
              <a:ea typeface="宋体" panose="02010600030101010101"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6" grpId="1" animBg="1"/>
      <p:bldP spid="4" grpId="0" bldLvl="0" animBg="1"/>
      <p:bldP spid="4"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635" y="1196975"/>
            <a:ext cx="9144635" cy="5687695"/>
          </a:xfrm>
          <a:prstGeom prst="rect">
            <a:avLst/>
          </a:prstGeom>
        </p:spPr>
      </p:pic>
      <p:sp>
        <p:nvSpPr>
          <p:cNvPr id="41987" name="TextBox 10"/>
          <p:cNvSpPr txBox="1">
            <a:spLocks noChangeArrowheads="1"/>
          </p:cNvSpPr>
          <p:nvPr/>
        </p:nvSpPr>
        <p:spPr bwMode="auto">
          <a:xfrm>
            <a:off x="4623753" y="3501390"/>
            <a:ext cx="4519930" cy="119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l"/>
            <a:r>
              <a:rPr lang="zh-CN" altLang="en-US" sz="1800">
                <a:solidFill>
                  <a:srgbClr val="FF0000"/>
                </a:solidFill>
                <a:ea typeface="宋体" panose="02010600030101010101" pitchFamily="2" charset="-122"/>
              </a:rPr>
              <a:t>以检索</a:t>
            </a:r>
            <a:r>
              <a:rPr lang="zh-CN" altLang="en-US" sz="1800">
                <a:solidFill>
                  <a:srgbClr val="FF0000"/>
                </a:solidFill>
                <a:ea typeface="宋体" panose="02010600030101010101" pitchFamily="2" charset="-122"/>
                <a:sym typeface="+mn-ea"/>
              </a:rPr>
              <a:t>安德鲁</a:t>
            </a:r>
            <a:r>
              <a:rPr lang="en-US" altLang="zh-CN" sz="1800">
                <a:solidFill>
                  <a:srgbClr val="FF0000"/>
                </a:solidFill>
                <a:ea typeface="宋体" panose="02010600030101010101" pitchFamily="2" charset="-122"/>
                <a:sym typeface="+mn-ea"/>
              </a:rPr>
              <a:t>·</a:t>
            </a:r>
            <a:r>
              <a:rPr lang="zh-CN" altLang="en-US" sz="1800">
                <a:solidFill>
                  <a:srgbClr val="FF0000"/>
                </a:solidFill>
                <a:ea typeface="宋体" panose="02010600030101010101" pitchFamily="2" charset="-122"/>
                <a:sym typeface="+mn-ea"/>
              </a:rPr>
              <a:t>巴托</a:t>
            </a:r>
            <a:r>
              <a:rPr lang="en-US" altLang="zh-CN" sz="1800">
                <a:solidFill>
                  <a:srgbClr val="FF0000"/>
                </a:solidFill>
                <a:highlight>
                  <a:srgbClr val="FFFF00"/>
                </a:highlight>
                <a:ea typeface="宋体" panose="02010600030101010101" pitchFamily="2" charset="-122"/>
                <a:sym typeface="+mn-ea"/>
              </a:rPr>
              <a:t>Andrew  Barto</a:t>
            </a:r>
            <a:r>
              <a:rPr lang="zh-CN" altLang="en-US" sz="1800">
                <a:solidFill>
                  <a:srgbClr val="FF0000"/>
                </a:solidFill>
                <a:ea typeface="宋体" panose="02010600030101010101" pitchFamily="2" charset="-122"/>
                <a:sym typeface="+mn-ea"/>
              </a:rPr>
              <a:t>教授在</a:t>
            </a:r>
            <a:endParaRPr lang="zh-CN" altLang="en-US" sz="1800">
              <a:solidFill>
                <a:srgbClr val="FF0000"/>
              </a:solidFill>
              <a:ea typeface="宋体" panose="02010600030101010101" pitchFamily="2" charset="-122"/>
              <a:sym typeface="+mn-ea"/>
            </a:endParaRPr>
          </a:p>
          <a:p>
            <a:pPr algn="l"/>
            <a:r>
              <a:rPr lang="zh-CN" altLang="en-US" sz="1800">
                <a:solidFill>
                  <a:srgbClr val="FF0000"/>
                </a:solidFill>
                <a:ea typeface="宋体" panose="02010600030101010101" pitchFamily="2" charset="-122"/>
                <a:sym typeface="+mn-ea"/>
              </a:rPr>
              <a:t>马萨诸塞大学阿默斯特分校</a:t>
            </a:r>
            <a:endParaRPr lang="zh-CN" altLang="en-US" sz="1800">
              <a:solidFill>
                <a:srgbClr val="FF0000"/>
              </a:solidFill>
              <a:ea typeface="宋体" panose="02010600030101010101" pitchFamily="2" charset="-122"/>
              <a:sym typeface="+mn-ea"/>
            </a:endParaRPr>
          </a:p>
          <a:p>
            <a:pPr algn="l"/>
            <a:r>
              <a:rPr lang="en-US" altLang="zh-CN">
                <a:solidFill>
                  <a:srgbClr val="FF0000"/>
                </a:solidFill>
                <a:highlight>
                  <a:srgbClr val="FFFF00"/>
                </a:highlight>
                <a:ea typeface="宋体" panose="02010600030101010101" pitchFamily="2" charset="-122"/>
              </a:rPr>
              <a:t>University of Massachusetts Amherst</a:t>
            </a:r>
            <a:r>
              <a:rPr lang="zh-CN" altLang="en-US">
                <a:solidFill>
                  <a:srgbClr val="FF0000"/>
                </a:solidFill>
                <a:ea typeface="宋体" panose="02010600030101010101" pitchFamily="2" charset="-122"/>
              </a:rPr>
              <a:t>作为导师</a:t>
            </a:r>
            <a:endParaRPr lang="zh-CN" altLang="en-US">
              <a:solidFill>
                <a:srgbClr val="FF0000"/>
              </a:solidFill>
              <a:ea typeface="宋体" panose="02010600030101010101" pitchFamily="2" charset="-122"/>
            </a:endParaRPr>
          </a:p>
          <a:p>
            <a:pPr algn="l"/>
            <a:r>
              <a:rPr lang="zh-CN" altLang="en-US">
                <a:solidFill>
                  <a:srgbClr val="FF0000"/>
                </a:solidFill>
                <a:ea typeface="宋体" panose="02010600030101010101" pitchFamily="2" charset="-122"/>
              </a:rPr>
              <a:t>指导的论文为例</a:t>
            </a:r>
            <a:endParaRPr lang="zh-CN" altLang="en-US">
              <a:solidFill>
                <a:srgbClr val="FF0000"/>
              </a:solidFill>
              <a:ea typeface="宋体" panose="02010600030101010101" pitchFamily="2" charset="-122"/>
            </a:endParaRPr>
          </a:p>
        </p:txBody>
      </p:sp>
      <p:cxnSp>
        <p:nvCxnSpPr>
          <p:cNvPr id="41988" name="直接箭头连接符 9"/>
          <p:cNvCxnSpPr>
            <a:cxnSpLocks noChangeShapeType="1"/>
          </p:cNvCxnSpPr>
          <p:nvPr/>
        </p:nvCxnSpPr>
        <p:spPr bwMode="auto">
          <a:xfrm flipH="1" flipV="1">
            <a:off x="3707765" y="3068638"/>
            <a:ext cx="936625" cy="43243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198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高级检索</a:t>
            </a:r>
            <a:endParaRPr lang="zh-CN" altLang="en-US" sz="2800">
              <a:ea typeface="宋体" panose="02010600030101010101" pitchFamily="2" charset="-122"/>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1"/>
          <a:stretch>
            <a:fillRect/>
          </a:stretch>
        </p:blipFill>
        <p:spPr>
          <a:xfrm>
            <a:off x="13335" y="1250950"/>
            <a:ext cx="9130665" cy="5633720"/>
          </a:xfrm>
          <a:prstGeom prst="rect">
            <a:avLst/>
          </a:prstGeom>
        </p:spPr>
      </p:pic>
      <p:sp>
        <p:nvSpPr>
          <p:cNvPr id="4198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高级检索</a:t>
            </a:r>
            <a:endParaRPr lang="zh-CN" altLang="en-US" sz="2800">
              <a:ea typeface="宋体" panose="02010600030101010101" pitchFamily="2" charset="-122"/>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 name="内容占位符 3"/>
          <p:cNvPicPr/>
          <p:nvPr>
            <p:ph idx="1"/>
          </p:nvPr>
        </p:nvPicPr>
        <p:blipFill>
          <a:blip r:embed="rId1"/>
          <a:stretch>
            <a:fillRect/>
          </a:stretch>
        </p:blipFill>
        <p:spPr>
          <a:xfrm>
            <a:off x="79375" y="1268730"/>
            <a:ext cx="9084310" cy="5606415"/>
          </a:xfrm>
          <a:prstGeom prst="rect">
            <a:avLst/>
          </a:prstGeom>
        </p:spPr>
      </p:pic>
      <p:sp>
        <p:nvSpPr>
          <p:cNvPr id="2" name="标题 1"/>
          <p:cNvSpPr>
            <a:spLocks noGrp="1"/>
          </p:cNvSpPr>
          <p:nvPr>
            <p:ph type="title"/>
          </p:nvPr>
        </p:nvSpPr>
        <p:spPr/>
        <p:txBody>
          <a:bodyPr/>
          <a:p>
            <a:endParaRPr lang="zh-CN" altLang="en-US"/>
          </a:p>
        </p:txBody>
      </p:sp>
      <p:sp>
        <p:nvSpPr>
          <p:cNvPr id="41987" name="TextBox 10"/>
          <p:cNvSpPr txBox="1">
            <a:spLocks noChangeArrowheads="1"/>
          </p:cNvSpPr>
          <p:nvPr/>
        </p:nvSpPr>
        <p:spPr bwMode="auto">
          <a:xfrm>
            <a:off x="3348038" y="5949315"/>
            <a:ext cx="33832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ea typeface="宋体" panose="02010600030101010101" pitchFamily="2" charset="-122"/>
              </a:rPr>
              <a:t>可通过师承关系深层次获取文献</a:t>
            </a:r>
            <a:endParaRPr lang="zh-CN">
              <a:solidFill>
                <a:srgbClr val="FF0000"/>
              </a:solidFill>
              <a:ea typeface="宋体" panose="02010600030101010101" pitchFamily="2"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idx="1"/>
          </p:nvPr>
        </p:nvSpPr>
        <p:spPr>
          <a:xfrm>
            <a:off x="3395980" y="1268730"/>
            <a:ext cx="5624830" cy="4845050"/>
          </a:xfrm>
        </p:spPr>
        <p:txBody>
          <a:bodyPr/>
          <a:p>
            <a:pPr marL="0" indent="0">
              <a:buNone/>
            </a:pPr>
            <a:r>
              <a:rPr lang="zh-CN" altLang="en-US" sz="2000">
                <a:solidFill>
                  <a:schemeClr val="accent1"/>
                </a:solidFill>
              </a:rPr>
              <a:t>理查德</a:t>
            </a:r>
            <a:r>
              <a:rPr lang="en-US" altLang="zh-CN" sz="2000">
                <a:solidFill>
                  <a:schemeClr val="accent1"/>
                </a:solidFill>
              </a:rPr>
              <a:t>·</a:t>
            </a:r>
            <a:r>
              <a:rPr lang="zh-CN" altLang="en-US" sz="2000">
                <a:solidFill>
                  <a:schemeClr val="accent1"/>
                </a:solidFill>
              </a:rPr>
              <a:t>萨顿（</a:t>
            </a:r>
            <a:r>
              <a:rPr lang="en-US" altLang="zh-CN" sz="2000">
                <a:solidFill>
                  <a:schemeClr val="accent1"/>
                </a:solidFill>
              </a:rPr>
              <a:t>Richard S. Sutton</a:t>
            </a:r>
            <a:r>
              <a:rPr lang="zh-CN" altLang="en-US" sz="2000">
                <a:solidFill>
                  <a:schemeClr val="accent1"/>
                </a:solidFill>
              </a:rPr>
              <a:t>）是美国计算机科学家，是</a:t>
            </a:r>
            <a:r>
              <a:rPr lang="en-US" altLang="zh-CN" sz="2000">
                <a:solidFill>
                  <a:schemeClr val="accent1"/>
                </a:solidFill>
              </a:rPr>
              <a:t>Deepmind</a:t>
            </a:r>
            <a:r>
              <a:rPr lang="zh-CN" altLang="en-US" sz="2000">
                <a:solidFill>
                  <a:schemeClr val="accent1"/>
                </a:solidFill>
              </a:rPr>
              <a:t>的研究科学家，</a:t>
            </a:r>
            <a:r>
              <a:rPr lang="zh-CN" altLang="en-US" sz="2000">
                <a:solidFill>
                  <a:srgbClr val="FFFF00"/>
                </a:solidFill>
              </a:rPr>
              <a:t>阿尔伯塔大学</a:t>
            </a:r>
            <a:r>
              <a:rPr lang="zh-CN" altLang="en-US" sz="2000">
                <a:solidFill>
                  <a:schemeClr val="accent1"/>
                </a:solidFill>
              </a:rPr>
              <a:t>计算机学教授。萨顿与安德鲁</a:t>
            </a:r>
            <a:r>
              <a:rPr lang="en-US" altLang="zh-CN" sz="2000">
                <a:solidFill>
                  <a:schemeClr val="accent1"/>
                </a:solidFill>
              </a:rPr>
              <a:t>·</a:t>
            </a:r>
            <a:r>
              <a:rPr lang="zh-CN" altLang="en-US" sz="2000">
                <a:solidFill>
                  <a:schemeClr val="accent1"/>
                </a:solidFill>
              </a:rPr>
              <a:t>巴托的合作始于</a:t>
            </a:r>
            <a:r>
              <a:rPr lang="en-US" altLang="zh-CN" sz="2000">
                <a:solidFill>
                  <a:schemeClr val="accent1"/>
                </a:solidFill>
              </a:rPr>
              <a:t> 1978 </a:t>
            </a:r>
            <a:r>
              <a:rPr lang="zh-CN" altLang="en-US" sz="2000">
                <a:solidFill>
                  <a:schemeClr val="accent1"/>
                </a:solidFill>
              </a:rPr>
              <a:t>年，当时在马萨诸塞大学阿默斯特分校巴托是萨顿的博士生导师和博士后导师，在</a:t>
            </a:r>
            <a:r>
              <a:rPr lang="zh-CN" altLang="en-US" sz="2000">
                <a:solidFill>
                  <a:srgbClr val="FFFF00"/>
                </a:solidFill>
              </a:rPr>
              <a:t>马萨诸塞大学阿默斯特分校</a:t>
            </a:r>
            <a:r>
              <a:rPr lang="zh-CN" altLang="en-US" sz="2000">
                <a:solidFill>
                  <a:schemeClr val="accent1"/>
                </a:solidFill>
              </a:rPr>
              <a:t>获得了计算机与信息科学的硕士学位和</a:t>
            </a:r>
            <a:r>
              <a:rPr lang="zh-CN" altLang="en-US" sz="2000">
                <a:solidFill>
                  <a:srgbClr val="FFFF00"/>
                </a:solidFill>
              </a:rPr>
              <a:t>博士学位</a:t>
            </a:r>
            <a:r>
              <a:rPr lang="zh-CN" altLang="en-US" sz="2000">
                <a:solidFill>
                  <a:schemeClr val="accent1"/>
                </a:solidFill>
              </a:rPr>
              <a:t>。</a:t>
            </a:r>
            <a:r>
              <a:rPr lang="en-US" altLang="zh-CN" sz="2000">
                <a:solidFill>
                  <a:schemeClr val="accent1"/>
                </a:solidFill>
              </a:rPr>
              <a:t>Sutton </a:t>
            </a:r>
            <a:r>
              <a:rPr lang="zh-CN" altLang="en-US" sz="2000">
                <a:solidFill>
                  <a:schemeClr val="accent1"/>
                </a:solidFill>
              </a:rPr>
              <a:t>曾获得国际神经网络学会颁发的总统奖，国际人工智能联合会议（</a:t>
            </a:r>
            <a:r>
              <a:rPr lang="en-US" altLang="zh-CN" sz="2000">
                <a:solidFill>
                  <a:schemeClr val="accent1"/>
                </a:solidFill>
              </a:rPr>
              <a:t>IJCAI</a:t>
            </a:r>
            <a:r>
              <a:rPr lang="zh-CN" altLang="en-US" sz="2000">
                <a:solidFill>
                  <a:schemeClr val="accent1"/>
                </a:solidFill>
              </a:rPr>
              <a:t>）卓越研究奖、加拿大人工智能协会终身成就奖，以及马萨诸塞大学阿默斯特分校杰出研究成就奖。他是英国皇家学会会士、人工智能促进会（</a:t>
            </a:r>
            <a:r>
              <a:rPr lang="en-US" altLang="zh-CN" sz="2000">
                <a:solidFill>
                  <a:schemeClr val="accent1"/>
                </a:solidFill>
              </a:rPr>
              <a:t>AAAI</a:t>
            </a:r>
            <a:r>
              <a:rPr lang="zh-CN" altLang="en-US" sz="2000">
                <a:solidFill>
                  <a:schemeClr val="accent1"/>
                </a:solidFill>
              </a:rPr>
              <a:t>）会士及加拿大皇家学会会士。</a:t>
            </a:r>
            <a:endParaRPr lang="zh-CN" altLang="en-US" sz="2000">
              <a:solidFill>
                <a:schemeClr val="accent1"/>
              </a:solidFill>
            </a:endParaRPr>
          </a:p>
        </p:txBody>
      </p:sp>
      <p:pic>
        <p:nvPicPr>
          <p:cNvPr id="4" name="图片 3" descr="C:/Users/user/Desktop/公众号/20250307 2024年图灵奖/理查德·萨顿35.jpg理查德·萨顿35"/>
          <p:cNvPicPr>
            <a:picLocks noChangeAspect="1"/>
          </p:cNvPicPr>
          <p:nvPr/>
        </p:nvPicPr>
        <p:blipFill>
          <a:blip r:embed="rId1"/>
          <a:srcRect l="5734" r="5734"/>
          <a:stretch>
            <a:fillRect/>
          </a:stretch>
        </p:blipFill>
        <p:spPr>
          <a:xfrm>
            <a:off x="323850" y="1844675"/>
            <a:ext cx="2843530" cy="322834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高级检索</a:t>
            </a:r>
            <a:endParaRPr lang="zh-CN" altLang="en-US" sz="2800">
              <a:ea typeface="宋体" panose="02010600030101010101" pitchFamily="2" charset="-122"/>
            </a:endParaRPr>
          </a:p>
        </p:txBody>
      </p:sp>
      <p:pic>
        <p:nvPicPr>
          <p:cNvPr id="3" name="图片 2"/>
          <p:cNvPicPr/>
          <p:nvPr/>
        </p:nvPicPr>
        <p:blipFill>
          <a:blip r:embed="rId1"/>
          <a:stretch>
            <a:fillRect/>
          </a:stretch>
        </p:blipFill>
        <p:spPr>
          <a:xfrm>
            <a:off x="0" y="1179195"/>
            <a:ext cx="9154795" cy="57054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Object 5"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17" name="Slide Number Placeholder 3"/>
          <p:cNvSpPr>
            <a:spLocks noGrp="1"/>
          </p:cNvSpPr>
          <p:nvPr>
            <p:custDataLst>
              <p:tags r:id="rId4"/>
            </p:custDataLst>
          </p:nvPr>
        </p:nvSpPr>
        <p:spPr>
          <a:xfrm>
            <a:off x="8629650" y="6348353"/>
            <a:ext cx="162000" cy="215900"/>
          </a:xfr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4159E-D75D-1D4C-AB47-8DAEB39BDE1C}" type="slidenum">
              <a:rPr lang="en-US" sz="100" smtClean="0">
                <a:solidFill>
                  <a:schemeClr val="tx1"/>
                </a:solidFill>
              </a:rPr>
            </a:fld>
            <a:endParaRPr lang="en-US" sz="100">
              <a:solidFill>
                <a:schemeClr val="tx1"/>
              </a:solidFill>
            </a:endParaRPr>
          </a:p>
        </p:txBody>
      </p:sp>
      <p:sp>
        <p:nvSpPr>
          <p:cNvPr id="9" name="Rectangle 8"/>
          <p:cNvSpPr/>
          <p:nvPr>
            <p:custDataLst>
              <p:tags r:id="rId5"/>
            </p:custDataLst>
          </p:nvPr>
        </p:nvSpPr>
        <p:spPr>
          <a:xfrm>
            <a:off x="228600" y="2691765"/>
            <a:ext cx="8686800" cy="2406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a:p>
        </p:txBody>
      </p:sp>
      <p:sp>
        <p:nvSpPr>
          <p:cNvPr id="25" name="Oval 24"/>
          <p:cNvSpPr/>
          <p:nvPr>
            <p:custDataLst>
              <p:tags r:id="rId6"/>
            </p:custDataLst>
          </p:nvPr>
        </p:nvSpPr>
        <p:spPr>
          <a:xfrm>
            <a:off x="1310891" y="2306240"/>
            <a:ext cx="774561" cy="751630"/>
          </a:xfrm>
          <a:prstGeom prst="ellipse">
            <a:avLst/>
          </a:prstGeom>
        </p:spPr>
        <p:style>
          <a:lnRef idx="0">
            <a:srgbClr val="FFFFFF"/>
          </a:lnRef>
          <a:fillRef idx="1">
            <a:schemeClr val="accent1"/>
          </a:fillRef>
          <a:effectRef idx="0">
            <a:srgbClr val="FFFFFF"/>
          </a:effectRef>
          <a:fontRef idx="minor">
            <a:schemeClr val="lt1"/>
          </a:fontRef>
        </p:style>
        <p:txBody>
          <a:bodyPr rtlCol="0" anchor="ctr"/>
          <a:lstStyle/>
          <a:p>
            <a:pPr algn="ctr"/>
            <a:endParaRPr lang="en-US" sz="100"/>
          </a:p>
        </p:txBody>
      </p:sp>
      <p:sp>
        <p:nvSpPr>
          <p:cNvPr id="26" name="Oval 25"/>
          <p:cNvSpPr/>
          <p:nvPr>
            <p:custDataLst>
              <p:tags r:id="rId7"/>
            </p:custDataLst>
          </p:nvPr>
        </p:nvSpPr>
        <p:spPr>
          <a:xfrm>
            <a:off x="4184720" y="2306240"/>
            <a:ext cx="774561" cy="751630"/>
          </a:xfrm>
          <a:prstGeom prst="ellipse">
            <a:avLst/>
          </a:prstGeom>
        </p:spPr>
        <p:style>
          <a:lnRef idx="0">
            <a:srgbClr val="FFFFFF"/>
          </a:lnRef>
          <a:fillRef idx="1">
            <a:schemeClr val="accent1"/>
          </a:fillRef>
          <a:effectRef idx="0">
            <a:srgbClr val="FFFFFF"/>
          </a:effectRef>
          <a:fontRef idx="minor">
            <a:schemeClr val="lt1"/>
          </a:fontRef>
        </p:style>
        <p:txBody>
          <a:bodyPr rtlCol="0" anchor="ctr"/>
          <a:lstStyle/>
          <a:p>
            <a:pPr algn="ctr"/>
            <a:endParaRPr lang="en-US" sz="100"/>
          </a:p>
        </p:txBody>
      </p:sp>
      <p:sp>
        <p:nvSpPr>
          <p:cNvPr id="27" name="Oval 26"/>
          <p:cNvSpPr/>
          <p:nvPr>
            <p:custDataLst>
              <p:tags r:id="rId8"/>
            </p:custDataLst>
          </p:nvPr>
        </p:nvSpPr>
        <p:spPr>
          <a:xfrm>
            <a:off x="7058549" y="2306240"/>
            <a:ext cx="774561" cy="751630"/>
          </a:xfrm>
          <a:prstGeom prst="ellipse">
            <a:avLst/>
          </a:prstGeom>
        </p:spPr>
        <p:style>
          <a:lnRef idx="0">
            <a:srgbClr val="FFFFFF"/>
          </a:lnRef>
          <a:fillRef idx="1">
            <a:schemeClr val="accent1"/>
          </a:fillRef>
          <a:effectRef idx="0">
            <a:srgbClr val="FFFFFF"/>
          </a:effectRef>
          <a:fontRef idx="minor">
            <a:schemeClr val="lt1"/>
          </a:fontRef>
        </p:style>
        <p:txBody>
          <a:bodyPr rtlCol="0" anchor="ctr"/>
          <a:lstStyle/>
          <a:p>
            <a:pPr algn="ctr"/>
            <a:endParaRPr lang="en-US" sz="100"/>
          </a:p>
        </p:txBody>
      </p:sp>
      <p:grpSp>
        <p:nvGrpSpPr>
          <p:cNvPr id="32" name="Group 31"/>
          <p:cNvGrpSpPr/>
          <p:nvPr>
            <p:custDataLst>
              <p:tags r:id="rId9"/>
            </p:custDataLst>
          </p:nvPr>
        </p:nvGrpSpPr>
        <p:grpSpPr>
          <a:xfrm>
            <a:off x="3135086" y="2933155"/>
            <a:ext cx="2873829" cy="1938391"/>
            <a:chOff x="4180115" y="2554514"/>
            <a:chExt cx="3831772" cy="3135086"/>
          </a:xfrm>
        </p:grpSpPr>
        <p:cxnSp>
          <p:nvCxnSpPr>
            <p:cNvPr id="23" name="Straight Connector 22"/>
            <p:cNvCxnSpPr/>
            <p:nvPr>
              <p:custDataLst>
                <p:tags r:id="rId10"/>
              </p:custDataLst>
            </p:nvPr>
          </p:nvCxnSpPr>
          <p:spPr>
            <a:xfrm>
              <a:off x="4180115" y="2554514"/>
              <a:ext cx="0" cy="3135086"/>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1"/>
              </p:custDataLst>
            </p:nvPr>
          </p:nvCxnSpPr>
          <p:spPr>
            <a:xfrm>
              <a:off x="8011887" y="2554514"/>
              <a:ext cx="0" cy="3135086"/>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custDataLst>
              <p:tags r:id="rId12"/>
            </p:custDataLst>
          </p:nvPr>
        </p:nvSpPr>
        <p:spPr>
          <a:xfrm>
            <a:off x="369380" y="3437957"/>
            <a:ext cx="2623106" cy="1321677"/>
          </a:xfrm>
          <a:prstGeom prst="rect">
            <a:avLst/>
          </a:prstGeom>
          <a:noFill/>
        </p:spPr>
        <p:txBody>
          <a:bodyPr wrap="square" rtlCol="0">
            <a:noAutofit/>
          </a:bodyPr>
          <a:lstStyle/>
          <a:p>
            <a:pPr>
              <a:spcBef>
                <a:spcPts val="900"/>
              </a:spcBef>
            </a:pPr>
            <a:r>
              <a:rPr lang="zh-CN" altLang="en-US" sz="1500" b="1" dirty="0">
                <a:solidFill>
                  <a:schemeClr val="tx1"/>
                </a:solidFill>
                <a:latin typeface="+mn-lt"/>
              </a:rPr>
              <a:t>发现</a:t>
            </a:r>
            <a:r>
              <a:rPr lang="zh-CN" altLang="zh-CN" sz="1500" b="1" dirty="0">
                <a:solidFill>
                  <a:schemeClr val="tx1"/>
                </a:solidFill>
                <a:latin typeface="+mn-lt"/>
              </a:rPr>
              <a:t>多数尚未发表而常被忽视</a:t>
            </a:r>
            <a:r>
              <a:rPr lang="zh-CN" altLang="en-US" sz="1500" b="1" dirty="0">
                <a:solidFill>
                  <a:schemeClr val="tx1"/>
                </a:solidFill>
                <a:latin typeface="+mn-lt"/>
              </a:rPr>
              <a:t>的学术成果，</a:t>
            </a:r>
            <a:r>
              <a:rPr lang="en-US" altLang="zh-CN" sz="1500" b="1" dirty="0">
                <a:solidFill>
                  <a:schemeClr val="tx1"/>
                </a:solidFill>
                <a:latin typeface="+mn-lt"/>
              </a:rPr>
              <a:t>PQDT </a:t>
            </a:r>
            <a:r>
              <a:rPr lang="zh-CN" altLang="en-US" sz="1500" b="1" dirty="0">
                <a:solidFill>
                  <a:schemeClr val="tx1"/>
                </a:solidFill>
                <a:latin typeface="+mn-lt"/>
              </a:rPr>
              <a:t>让研究人员以更大的信心、更高的效率去发掘创新思想和成果。</a:t>
            </a:r>
            <a:endParaRPr lang="zh-CN" altLang="en-US" sz="1500" b="1" dirty="0">
              <a:solidFill>
                <a:schemeClr val="tx1"/>
              </a:solidFill>
              <a:latin typeface="+mn-lt"/>
            </a:endParaRPr>
          </a:p>
        </p:txBody>
      </p:sp>
      <p:sp>
        <p:nvSpPr>
          <p:cNvPr id="29" name="TextBox 28"/>
          <p:cNvSpPr txBox="1"/>
          <p:nvPr>
            <p:custDataLst>
              <p:tags r:id="rId13"/>
            </p:custDataLst>
          </p:nvPr>
        </p:nvSpPr>
        <p:spPr>
          <a:xfrm>
            <a:off x="3275863" y="3450772"/>
            <a:ext cx="2730010" cy="1420773"/>
          </a:xfrm>
          <a:prstGeom prst="rect">
            <a:avLst/>
          </a:prstGeom>
          <a:noFill/>
        </p:spPr>
        <p:txBody>
          <a:bodyPr wrap="square" rtlCol="0">
            <a:normAutofit fontScale="92500" lnSpcReduction="10000"/>
          </a:bodyPr>
          <a:lstStyle/>
          <a:p>
            <a:pPr>
              <a:spcBef>
                <a:spcPts val="900"/>
              </a:spcBef>
            </a:pPr>
            <a:r>
              <a:rPr lang="zh-CN" altLang="en-US" sz="1600" b="1" dirty="0">
                <a:solidFill>
                  <a:schemeClr val="tx1"/>
                </a:solidFill>
                <a:latin typeface="+mn-lt"/>
              </a:rPr>
              <a:t>一站式快速获取论文全文；</a:t>
            </a:r>
            <a:r>
              <a:rPr lang="en-US" altLang="zh-CN" sz="1600" b="1" dirty="0">
                <a:solidFill>
                  <a:schemeClr val="tx1"/>
                </a:solidFill>
                <a:latin typeface="+mn-lt"/>
              </a:rPr>
              <a:t>PQDT</a:t>
            </a:r>
            <a:r>
              <a:rPr lang="zh-CN" altLang="en-US" sz="1600" b="1" dirty="0">
                <a:solidFill>
                  <a:schemeClr val="tx1"/>
                </a:solidFill>
                <a:latin typeface="+mn-lt"/>
              </a:rPr>
              <a:t>提供了一个独特的全球背景下不同的声音、想法和观点融合的知识网络，有助于研究人员发现其间的关联，获得新的见解。</a:t>
            </a:r>
            <a:endParaRPr lang="zh-CN" altLang="en-US" sz="1600" b="1" dirty="0">
              <a:solidFill>
                <a:schemeClr val="tx1"/>
              </a:solidFill>
              <a:latin typeface="+mn-lt"/>
            </a:endParaRPr>
          </a:p>
        </p:txBody>
      </p:sp>
      <p:sp>
        <p:nvSpPr>
          <p:cNvPr id="30" name="TextBox 29"/>
          <p:cNvSpPr txBox="1"/>
          <p:nvPr>
            <p:custDataLst>
              <p:tags r:id="rId14"/>
            </p:custDataLst>
          </p:nvPr>
        </p:nvSpPr>
        <p:spPr>
          <a:xfrm>
            <a:off x="6372201" y="3450771"/>
            <a:ext cx="2507498" cy="1420773"/>
          </a:xfrm>
          <a:prstGeom prst="rect">
            <a:avLst/>
          </a:prstGeom>
          <a:noFill/>
        </p:spPr>
        <p:txBody>
          <a:bodyPr wrap="square" rtlCol="0">
            <a:normAutofit fontScale="92500" lnSpcReduction="10000"/>
          </a:bodyPr>
          <a:lstStyle/>
          <a:p>
            <a:pPr>
              <a:spcBef>
                <a:spcPts val="900"/>
              </a:spcBef>
            </a:pPr>
            <a:r>
              <a:rPr lang="zh-CN" altLang="en-US" sz="1600" b="1" dirty="0">
                <a:solidFill>
                  <a:schemeClr val="tx1"/>
                </a:solidFill>
                <a:latin typeface="+mn-lt"/>
              </a:rPr>
              <a:t>公平的检索结果；</a:t>
            </a:r>
            <a:r>
              <a:rPr lang="en-US" altLang="zh-CN" sz="1600" b="1" dirty="0">
                <a:solidFill>
                  <a:schemeClr val="tx1"/>
                </a:solidFill>
                <a:latin typeface="+mn-lt"/>
              </a:rPr>
              <a:t>ProQuest </a:t>
            </a:r>
            <a:r>
              <a:rPr lang="zh-CN" altLang="en-US" sz="1600" b="1" dirty="0">
                <a:solidFill>
                  <a:schemeClr val="tx1"/>
                </a:solidFill>
                <a:latin typeface="+mn-lt"/>
              </a:rPr>
              <a:t>的专业编辑团队对每篇论文进行审查，增强的平台功能，实现对跨学科以及来自不同机构的论文内容进行交叉检索。</a:t>
            </a:r>
            <a:endParaRPr lang="zh-CN" altLang="en-US" sz="1600" b="1" dirty="0">
              <a:solidFill>
                <a:schemeClr val="tx1"/>
              </a:solidFill>
              <a:latin typeface="+mn-lt"/>
            </a:endParaRPr>
          </a:p>
        </p:txBody>
      </p:sp>
      <p:cxnSp>
        <p:nvCxnSpPr>
          <p:cNvPr id="34" name="Straight Connector 33"/>
          <p:cNvCxnSpPr/>
          <p:nvPr>
            <p:custDataLst>
              <p:tags r:id="rId15"/>
            </p:custDataLst>
          </p:nvPr>
        </p:nvCxnSpPr>
        <p:spPr>
          <a:xfrm>
            <a:off x="1248116" y="5172075"/>
            <a:ext cx="90011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6"/>
            </p:custDataLst>
          </p:nvPr>
        </p:nvCxnSpPr>
        <p:spPr>
          <a:xfrm>
            <a:off x="4121945" y="5172075"/>
            <a:ext cx="90011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7"/>
            </p:custDataLst>
          </p:nvPr>
        </p:nvCxnSpPr>
        <p:spPr>
          <a:xfrm>
            <a:off x="6995773" y="5172075"/>
            <a:ext cx="90011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8" name="Graphic 37"/>
          <p:cNvPicPr>
            <a:picLocks noChangeAspect="1"/>
          </p:cNvPicPr>
          <p:nvPr>
            <p:custDataLst>
              <p:tags r:id="rId18"/>
            </p:custDataLst>
          </p:nvPr>
        </p:nvPicPr>
        <p:blipFill>
          <a:blip r:embed="rId19">
            <a:extLst>
              <a:ext uri="{96DAC541-7B7A-43D3-8B79-37D633B846F1}">
                <asvg:svgBlip xmlns:asvg="http://schemas.microsoft.com/office/drawing/2016/SVG/main" r:embed="rId20"/>
              </a:ext>
            </a:extLst>
          </a:blip>
          <a:stretch>
            <a:fillRect/>
          </a:stretch>
        </p:blipFill>
        <p:spPr>
          <a:xfrm>
            <a:off x="1475823" y="2471171"/>
            <a:ext cx="444698" cy="431532"/>
          </a:xfrm>
          <a:prstGeom prst="rect">
            <a:avLst/>
          </a:prstGeom>
        </p:spPr>
      </p:pic>
      <p:sp>
        <p:nvSpPr>
          <p:cNvPr id="39" name="TextBox 38"/>
          <p:cNvSpPr txBox="1"/>
          <p:nvPr>
            <p:custDataLst>
              <p:tags r:id="rId21"/>
            </p:custDataLst>
          </p:nvPr>
        </p:nvSpPr>
        <p:spPr>
          <a:xfrm>
            <a:off x="1531484" y="4680347"/>
            <a:ext cx="333375" cy="506730"/>
          </a:xfrm>
          <a:prstGeom prst="rect">
            <a:avLst/>
          </a:prstGeom>
          <a:noFill/>
        </p:spPr>
        <p:txBody>
          <a:bodyPr wrap="square" rtlCol="0">
            <a:spAutoFit/>
          </a:bodyPr>
          <a:lstStyle/>
          <a:p>
            <a:pPr algn="ctr"/>
            <a:r>
              <a:rPr lang="en-US" sz="2700" b="1">
                <a:solidFill>
                  <a:schemeClr val="tx1"/>
                </a:solidFill>
                <a:latin typeface="+mn-lt"/>
              </a:rPr>
              <a:t>1</a:t>
            </a:r>
            <a:endParaRPr lang="en-US" sz="2700" b="1">
              <a:solidFill>
                <a:schemeClr val="tx1"/>
              </a:solidFill>
              <a:latin typeface="+mn-lt"/>
            </a:endParaRPr>
          </a:p>
        </p:txBody>
      </p:sp>
      <p:sp>
        <p:nvSpPr>
          <p:cNvPr id="40" name="TextBox 39"/>
          <p:cNvSpPr txBox="1"/>
          <p:nvPr>
            <p:custDataLst>
              <p:tags r:id="rId22"/>
            </p:custDataLst>
          </p:nvPr>
        </p:nvSpPr>
        <p:spPr>
          <a:xfrm>
            <a:off x="4405313" y="4680347"/>
            <a:ext cx="333375" cy="506730"/>
          </a:xfrm>
          <a:prstGeom prst="rect">
            <a:avLst/>
          </a:prstGeom>
          <a:noFill/>
        </p:spPr>
        <p:txBody>
          <a:bodyPr wrap="square" rtlCol="0">
            <a:spAutoFit/>
          </a:bodyPr>
          <a:lstStyle/>
          <a:p>
            <a:pPr algn="ctr"/>
            <a:r>
              <a:rPr lang="en-US" sz="2700" b="1">
                <a:solidFill>
                  <a:schemeClr val="tx1"/>
                </a:solidFill>
                <a:latin typeface="+mn-lt"/>
              </a:rPr>
              <a:t>2</a:t>
            </a:r>
            <a:endParaRPr lang="en-US" sz="2700" b="1">
              <a:solidFill>
                <a:schemeClr val="tx1"/>
              </a:solidFill>
              <a:latin typeface="+mn-lt"/>
            </a:endParaRPr>
          </a:p>
        </p:txBody>
      </p:sp>
      <p:sp>
        <p:nvSpPr>
          <p:cNvPr id="41" name="TextBox 40"/>
          <p:cNvSpPr txBox="1"/>
          <p:nvPr>
            <p:custDataLst>
              <p:tags r:id="rId23"/>
            </p:custDataLst>
          </p:nvPr>
        </p:nvSpPr>
        <p:spPr>
          <a:xfrm>
            <a:off x="7279142" y="4680347"/>
            <a:ext cx="333375" cy="506730"/>
          </a:xfrm>
          <a:prstGeom prst="rect">
            <a:avLst/>
          </a:prstGeom>
          <a:noFill/>
        </p:spPr>
        <p:txBody>
          <a:bodyPr wrap="square" rtlCol="0">
            <a:spAutoFit/>
          </a:bodyPr>
          <a:lstStyle/>
          <a:p>
            <a:pPr algn="ctr"/>
            <a:r>
              <a:rPr lang="en-US" sz="2700" b="1" dirty="0">
                <a:solidFill>
                  <a:schemeClr val="tx1"/>
                </a:solidFill>
                <a:latin typeface="+mn-lt"/>
              </a:rPr>
              <a:t>3</a:t>
            </a:r>
            <a:endParaRPr lang="en-US" sz="2700" b="1" dirty="0">
              <a:solidFill>
                <a:schemeClr val="tx1"/>
              </a:solidFill>
              <a:latin typeface="+mn-lt"/>
            </a:endParaRPr>
          </a:p>
        </p:txBody>
      </p:sp>
      <p:pic>
        <p:nvPicPr>
          <p:cNvPr id="43" name="Graphic 42"/>
          <p:cNvPicPr>
            <a:picLocks noChangeAspect="1"/>
          </p:cNvPicPr>
          <p:nvPr>
            <p:custDataLst>
              <p:tags r:id="rId24"/>
            </p:custDataLst>
          </p:nvPr>
        </p:nvPicPr>
        <p:blipFill rotWithShape="1">
          <a:blip r:embed="rId25">
            <a:extLst>
              <a:ext uri="{96DAC541-7B7A-43D3-8B79-37D633B846F1}">
                <asvg:svgBlip xmlns:asvg="http://schemas.microsoft.com/office/drawing/2016/SVG/main" r:embed="rId26"/>
              </a:ext>
            </a:extLst>
          </a:blip>
          <a:srcRect l="14194" t="12017" r="14806" b="10983"/>
          <a:stretch>
            <a:fillRect/>
          </a:stretch>
        </p:blipFill>
        <p:spPr>
          <a:xfrm>
            <a:off x="4354117" y="2457223"/>
            <a:ext cx="435769" cy="458603"/>
          </a:xfrm>
          <a:prstGeom prst="rect">
            <a:avLst/>
          </a:prstGeom>
        </p:spPr>
      </p:pic>
      <p:pic>
        <p:nvPicPr>
          <p:cNvPr id="45" name="Graphic 44"/>
          <p:cNvPicPr>
            <a:picLocks noChangeAspect="1"/>
          </p:cNvPicPr>
          <p:nvPr>
            <p:custDataLst>
              <p:tags r:id="rId27"/>
            </p:custDataLst>
          </p:nvPr>
        </p:nvPicPr>
        <p:blipFill>
          <a:blip r:embed="rId28">
            <a:extLst>
              <a:ext uri="{96DAC541-7B7A-43D3-8B79-37D633B846F1}">
                <asvg:svgBlip xmlns:asvg="http://schemas.microsoft.com/office/drawing/2016/SVG/main" r:embed="rId29"/>
              </a:ext>
            </a:extLst>
          </a:blip>
          <a:stretch>
            <a:fillRect/>
          </a:stretch>
        </p:blipFill>
        <p:spPr>
          <a:xfrm>
            <a:off x="7217229" y="2464919"/>
            <a:ext cx="457200" cy="443664"/>
          </a:xfrm>
          <a:prstGeom prst="rect">
            <a:avLst/>
          </a:prstGeom>
        </p:spPr>
      </p:pic>
      <p:sp>
        <p:nvSpPr>
          <p:cNvPr id="16" name="Text Placeholder 4"/>
          <p:cNvSpPr>
            <a:spLocks noGrp="1"/>
          </p:cNvSpPr>
          <p:nvPr>
            <p:custDataLst>
              <p:tags r:id="rId30"/>
            </p:custDataLst>
          </p:nvPr>
        </p:nvSpPr>
        <p:spPr>
          <a:xfrm>
            <a:off x="610219" y="1680412"/>
            <a:ext cx="8019431" cy="252730"/>
          </a:xfrm>
          <a:prstGeom prst="rect">
            <a:avLst/>
          </a:prstGeom>
        </p:spPr>
        <p:txBody>
          <a:bodyPr wrap="square" lIns="0" tIns="0" rIns="0" bIns="0">
            <a:normAutofit lnSpcReduction="10000"/>
          </a:bodyPr>
          <a:lstStyle>
            <a:lvl1pPr marL="0" indent="0" algn="l" rtl="0" eaLnBrk="0" fontAlgn="base" hangingPunct="0">
              <a:lnSpc>
                <a:spcPct val="90000"/>
              </a:lnSpc>
              <a:spcBef>
                <a:spcPct val="20000"/>
              </a:spcBef>
              <a:spcAft>
                <a:spcPct val="0"/>
              </a:spcAft>
              <a:buClr>
                <a:schemeClr val="tx1"/>
              </a:buClr>
              <a:buSzPct val="120000"/>
              <a:buFont typeface="Wingdings" panose="05000000000000000000" pitchFamily="2" charset="2"/>
              <a:buNone/>
              <a:defRPr sz="15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85000"/>
              <a:buFont typeface="Arial" panose="020B0604020202020204" pitchFamily="34" charset="0"/>
              <a:buChar char="–"/>
              <a:defRPr sz="2400">
                <a:solidFill>
                  <a:schemeClr val="tx2"/>
                </a:solidFill>
                <a:latin typeface="+mn-lt"/>
              </a:defRPr>
            </a:lvl2pPr>
            <a:lvl3pPr marL="1143000" indent="-228600" algn="l" rtl="0" eaLnBrk="0" fontAlgn="base" hangingPunct="0">
              <a:spcBef>
                <a:spcPct val="20000"/>
              </a:spcBef>
              <a:spcAft>
                <a:spcPct val="0"/>
              </a:spcAft>
              <a:buClr>
                <a:schemeClr val="tx1"/>
              </a:buClr>
              <a:buFont typeface="Wingdings" panose="05000000000000000000" pitchFamily="2" charset="2"/>
              <a:buChar char="§"/>
              <a:defRPr sz="2400">
                <a:solidFill>
                  <a:schemeClr val="tx2"/>
                </a:solidFill>
                <a:latin typeface="+mn-lt"/>
              </a:defRPr>
            </a:lvl3pPr>
            <a:lvl4pPr marL="1600200" indent="-228600" algn="l" rtl="0" eaLnBrk="0" fontAlgn="base" hangingPunct="0">
              <a:spcBef>
                <a:spcPct val="20000"/>
              </a:spcBef>
              <a:spcAft>
                <a:spcPct val="0"/>
              </a:spcAft>
              <a:buClr>
                <a:schemeClr val="tx1"/>
              </a:buClr>
              <a:buSzPct val="75000"/>
              <a:buFont typeface="Arial" panose="020B0604020202020204" pitchFamily="34" charset="0"/>
              <a:buChar char="–"/>
              <a:defRPr sz="2000">
                <a:solidFill>
                  <a:schemeClr val="tx2"/>
                </a:solidFill>
                <a:latin typeface="+mn-lt"/>
              </a:defRPr>
            </a:lvl4pPr>
            <a:lvl5pPr marL="2057400" indent="-228600" algn="l" rtl="0" eaLnBrk="0" fontAlgn="base" hangingPunct="0">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5pPr>
            <a:lvl6pPr marL="25146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6pPr>
            <a:lvl7pPr marL="29718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7pPr>
            <a:lvl8pPr marL="34290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8pPr>
            <a:lvl9pPr marL="38862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9pPr>
          </a:lstStyle>
          <a:p>
            <a:pPr algn="ctr"/>
            <a:r>
              <a:rPr lang="en-US" altLang="zh-CN" sz="2000" b="1" dirty="0">
                <a:solidFill>
                  <a:schemeClr val="tx1"/>
                </a:solidFill>
              </a:rPr>
              <a:t>PQDT </a:t>
            </a:r>
            <a:r>
              <a:rPr lang="zh-CN" altLang="en-US" sz="2000" b="1" dirty="0">
                <a:solidFill>
                  <a:schemeClr val="tx1"/>
                </a:solidFill>
              </a:rPr>
              <a:t>内容 </a:t>
            </a:r>
            <a:r>
              <a:rPr lang="en-US" altLang="zh-CN" sz="2000" b="1" dirty="0">
                <a:solidFill>
                  <a:schemeClr val="tx1"/>
                </a:solidFill>
              </a:rPr>
              <a:t>+ </a:t>
            </a:r>
            <a:r>
              <a:rPr lang="zh-CN" altLang="en-US" sz="2000" b="1" dirty="0">
                <a:solidFill>
                  <a:schemeClr val="tx1"/>
                </a:solidFill>
              </a:rPr>
              <a:t>平台</a:t>
            </a:r>
            <a:endParaRPr lang="zh-CN" altLang="en-US" sz="2000" b="1" dirty="0">
              <a:solidFill>
                <a:schemeClr val="tx1"/>
              </a:solidFill>
            </a:endParaRPr>
          </a:p>
        </p:txBody>
      </p:sp>
      <p:sp>
        <p:nvSpPr>
          <p:cNvPr id="19" name="标题 18"/>
          <p:cNvSpPr>
            <a:spLocks noGrp="1"/>
          </p:cNvSpPr>
          <p:nvPr>
            <p:ph type="title"/>
            <p:custDataLst>
              <p:tags r:id="rId31"/>
            </p:custDataLst>
          </p:nvPr>
        </p:nvSpPr>
        <p:spPr/>
        <p:txBody>
          <a:bodyPr vert="horz" wrap="square" lIns="0" tIns="0" rIns="0" bIns="0" rtlCol="0" anchor="b">
            <a:normAutofit fontScale="90000"/>
          </a:bodyPr>
          <a:lstStyle/>
          <a:p>
            <a:pPr lvl="0" algn="l">
              <a:buClrTx/>
              <a:buSzTx/>
              <a:buFontTx/>
            </a:pPr>
            <a:r>
              <a:rPr lang="zh-CN" altLang="en-US" sz="3600" dirty="0">
                <a:sym typeface="+mn-ea"/>
              </a:rPr>
              <a:t>学位论文的学术价值</a:t>
            </a:r>
            <a:endParaRPr lang="zh-CN" altLang="en-US" sz="3600" dirty="0">
              <a:sym typeface="+mn-ea"/>
            </a:endParaRPr>
          </a:p>
        </p:txBody>
      </p:sp>
    </p:spTree>
    <p:custDataLst>
      <p:tags r:id="rId32"/>
    </p:custData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超清-核心概念融合地球和学位论文元素：采用极简经纬线勾勒的球体轮廓，融入半透明质感表现全球覆盖知识载体：在球体顶端嵌入微缩学位帽剪影，帽穗延伸为动态线条连接经纬，帽穗在学位帽的左侧。三维视觉构建结构设计：1... (2)(1)"/>
          <p:cNvPicPr>
            <a:picLocks noChangeAspect="1"/>
          </p:cNvPicPr>
          <p:nvPr/>
        </p:nvPicPr>
        <p:blipFill>
          <a:blip r:embed="rId1"/>
          <a:stretch>
            <a:fillRect/>
          </a:stretch>
        </p:blipFill>
        <p:spPr>
          <a:xfrm>
            <a:off x="-36195" y="0"/>
            <a:ext cx="1380490" cy="1380490"/>
          </a:xfrm>
          <a:prstGeom prst="rect">
            <a:avLst/>
          </a:prstGeom>
        </p:spPr>
      </p:pic>
      <p:pic>
        <p:nvPicPr>
          <p:cNvPr id="2" name="图片 1"/>
          <p:cNvPicPr>
            <a:picLocks noChangeAspect="1"/>
          </p:cNvPicPr>
          <p:nvPr/>
        </p:nvPicPr>
        <p:blipFill>
          <a:blip r:embed="rId2"/>
          <a:stretch>
            <a:fillRect/>
          </a:stretch>
        </p:blipFill>
        <p:spPr>
          <a:xfrm>
            <a:off x="0" y="1141095"/>
            <a:ext cx="9144000" cy="5716905"/>
          </a:xfrm>
          <a:prstGeom prst="rect">
            <a:avLst/>
          </a:prstGeom>
        </p:spPr>
      </p:pic>
      <p:cxnSp>
        <p:nvCxnSpPr>
          <p:cNvPr id="43011" name="直接箭头连接符 5"/>
          <p:cNvCxnSpPr>
            <a:cxnSpLocks noChangeShapeType="1"/>
          </p:cNvCxnSpPr>
          <p:nvPr/>
        </p:nvCxnSpPr>
        <p:spPr bwMode="auto">
          <a:xfrm flipH="1">
            <a:off x="2195513" y="2060575"/>
            <a:ext cx="947737" cy="523875"/>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3012" name="TextBox 6"/>
          <p:cNvSpPr txBox="1">
            <a:spLocks noChangeArrowheads="1"/>
          </p:cNvSpPr>
          <p:nvPr/>
        </p:nvSpPr>
        <p:spPr bwMode="auto">
          <a:xfrm>
            <a:off x="3143250" y="1785938"/>
            <a:ext cx="2852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按照学科首字母</a:t>
            </a:r>
            <a:r>
              <a:rPr lang="en-US" altLang="zh-CN">
                <a:solidFill>
                  <a:srgbClr val="FF0000"/>
                </a:solidFill>
                <a:ea typeface="宋体" panose="02010600030101010101" pitchFamily="2" charset="-122"/>
              </a:rPr>
              <a:t>A to Z</a:t>
            </a:r>
            <a:r>
              <a:rPr lang="zh-CN" altLang="en-US">
                <a:solidFill>
                  <a:srgbClr val="FF0000"/>
                </a:solidFill>
                <a:ea typeface="宋体" panose="02010600030101010101" pitchFamily="2" charset="-122"/>
              </a:rPr>
              <a:t>排序</a:t>
            </a:r>
            <a:endParaRPr lang="zh-CN" altLang="en-US">
              <a:solidFill>
                <a:srgbClr val="FF0000"/>
              </a:solidFill>
              <a:ea typeface="宋体" panose="02010600030101010101" pitchFamily="2" charset="-122"/>
            </a:endParaRPr>
          </a:p>
        </p:txBody>
      </p:sp>
      <p:sp>
        <p:nvSpPr>
          <p:cNvPr id="43013"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分类导航</a:t>
            </a:r>
            <a:endParaRPr lang="zh-CN" altLang="en-US" sz="2800">
              <a:ea typeface="宋体" panose="02010600030101010101" pitchFamily="2" charset="-122"/>
            </a:endParaRPr>
          </a:p>
        </p:txBody>
      </p:sp>
      <p:sp>
        <p:nvSpPr>
          <p:cNvPr id="43014" name="TextBox 6"/>
          <p:cNvSpPr txBox="1">
            <a:spLocks noChangeArrowheads="1"/>
          </p:cNvSpPr>
          <p:nvPr/>
        </p:nvSpPr>
        <p:spPr bwMode="auto">
          <a:xfrm>
            <a:off x="3203575" y="4364990"/>
            <a:ext cx="47005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点击一级学科前方“</a:t>
            </a:r>
            <a:r>
              <a:rPr lang="en-US" altLang="zh-CN">
                <a:solidFill>
                  <a:srgbClr val="FF0000"/>
                </a:solidFill>
                <a:ea typeface="宋体" panose="02010600030101010101" pitchFamily="2" charset="-122"/>
              </a:rPr>
              <a:t>+</a:t>
            </a:r>
            <a:r>
              <a:rPr lang="zh-CN" altLang="en-US">
                <a:solidFill>
                  <a:srgbClr val="FF0000"/>
                </a:solidFill>
                <a:ea typeface="宋体" panose="02010600030101010101" pitchFamily="2" charset="-122"/>
              </a:rPr>
              <a:t>”可展开下属二级学科</a:t>
            </a:r>
            <a:endParaRPr lang="zh-CN" altLang="en-US">
              <a:solidFill>
                <a:srgbClr val="FF0000"/>
              </a:solidFill>
              <a:ea typeface="宋体" panose="02010600030101010101" pitchFamily="2" charset="-122"/>
            </a:endParaRPr>
          </a:p>
        </p:txBody>
      </p:sp>
      <p:cxnSp>
        <p:nvCxnSpPr>
          <p:cNvPr id="43015" name="直接箭头连接符 5"/>
          <p:cNvCxnSpPr>
            <a:cxnSpLocks noChangeShapeType="1"/>
          </p:cNvCxnSpPr>
          <p:nvPr/>
        </p:nvCxnSpPr>
        <p:spPr bwMode="auto">
          <a:xfrm flipH="1" flipV="1">
            <a:off x="1968500" y="3656965"/>
            <a:ext cx="1228725" cy="852488"/>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 name="内容占位符 5"/>
          <p:cNvPicPr>
            <a:picLocks noChangeAspect="1"/>
          </p:cNvPicPr>
          <p:nvPr>
            <p:ph idx="1"/>
          </p:nvPr>
        </p:nvPicPr>
        <p:blipFill>
          <a:blip r:embed="rId1"/>
          <a:stretch>
            <a:fillRect/>
          </a:stretch>
        </p:blipFill>
        <p:spPr>
          <a:xfrm>
            <a:off x="35560" y="1268730"/>
            <a:ext cx="7513955" cy="5264785"/>
          </a:xfrm>
          <a:prstGeom prst="rect">
            <a:avLst/>
          </a:prstGeom>
        </p:spPr>
      </p:pic>
      <p:sp>
        <p:nvSpPr>
          <p:cNvPr id="2" name="标题 1"/>
          <p:cNvSpPr>
            <a:spLocks noGrp="1"/>
          </p:cNvSpPr>
          <p:nvPr>
            <p:ph type="title"/>
          </p:nvPr>
        </p:nvSpPr>
        <p:spPr/>
        <p:txBody>
          <a:bodyPr/>
          <a:p>
            <a:endParaRPr lang="zh-CN" altLang="en-US"/>
          </a:p>
        </p:txBody>
      </p:sp>
      <p:sp>
        <p:nvSpPr>
          <p:cNvPr id="5" name="文本框 4"/>
          <p:cNvSpPr txBox="1"/>
          <p:nvPr/>
        </p:nvSpPr>
        <p:spPr>
          <a:xfrm>
            <a:off x="3275965" y="1268730"/>
            <a:ext cx="3048000" cy="5507990"/>
          </a:xfrm>
          <a:prstGeom prst="rect">
            <a:avLst/>
          </a:prstGeom>
          <a:noFill/>
        </p:spPr>
        <p:txBody>
          <a:bodyPr wrap="square" rtlCol="0">
            <a:spAutoFit/>
          </a:bodyPr>
          <a:p>
            <a:r>
              <a:rPr lang="zh-CN" altLang="en-US" sz="1600">
                <a:solidFill>
                  <a:srgbClr val="FF0000"/>
                </a:solidFill>
              </a:rPr>
              <a:t>分析化学</a:t>
            </a:r>
            <a:endParaRPr lang="zh-CN" altLang="en-US" sz="1600">
              <a:solidFill>
                <a:srgbClr val="FF0000"/>
              </a:solidFill>
            </a:endParaRPr>
          </a:p>
          <a:p>
            <a:r>
              <a:rPr lang="zh-CN" altLang="en-US" sz="1600">
                <a:solidFill>
                  <a:srgbClr val="FF0000"/>
                </a:solidFill>
              </a:rPr>
              <a:t>应用物理</a:t>
            </a:r>
            <a:endParaRPr lang="zh-CN" altLang="en-US" sz="1600">
              <a:solidFill>
                <a:srgbClr val="FF0000"/>
              </a:solidFill>
            </a:endParaRPr>
          </a:p>
          <a:p>
            <a:r>
              <a:rPr lang="zh-CN" altLang="en-US" sz="1600">
                <a:solidFill>
                  <a:srgbClr val="FF0000"/>
                </a:solidFill>
              </a:rPr>
              <a:t>原子物理学</a:t>
            </a:r>
            <a:endParaRPr lang="zh-CN" altLang="en-US" sz="1600">
              <a:solidFill>
                <a:srgbClr val="FF0000"/>
              </a:solidFill>
            </a:endParaRPr>
          </a:p>
          <a:p>
            <a:r>
              <a:rPr lang="zh-CN" altLang="en-US" sz="1600">
                <a:solidFill>
                  <a:srgbClr val="FF0000"/>
                </a:solidFill>
              </a:rPr>
              <a:t>计算化学</a:t>
            </a:r>
            <a:endParaRPr lang="zh-CN" altLang="en-US" sz="1600">
              <a:solidFill>
                <a:srgbClr val="FF0000"/>
              </a:solidFill>
            </a:endParaRPr>
          </a:p>
          <a:p>
            <a:r>
              <a:rPr lang="zh-CN" altLang="en-US" sz="1600">
                <a:solidFill>
                  <a:srgbClr val="FF0000"/>
                </a:solidFill>
              </a:rPr>
              <a:t>计算物理学</a:t>
            </a:r>
            <a:endParaRPr lang="zh-CN" altLang="en-US" sz="1600">
              <a:solidFill>
                <a:srgbClr val="FF0000"/>
              </a:solidFill>
            </a:endParaRPr>
          </a:p>
          <a:p>
            <a:r>
              <a:rPr lang="zh-CN" altLang="en-US" sz="1600">
                <a:solidFill>
                  <a:srgbClr val="FF0000"/>
                </a:solidFill>
              </a:rPr>
              <a:t>凝聚态物理学</a:t>
            </a:r>
            <a:endParaRPr lang="zh-CN" altLang="en-US" sz="1600">
              <a:solidFill>
                <a:srgbClr val="FF0000"/>
              </a:solidFill>
            </a:endParaRPr>
          </a:p>
          <a:p>
            <a:r>
              <a:rPr lang="zh-CN" altLang="en-US" sz="1600">
                <a:solidFill>
                  <a:srgbClr val="FF0000"/>
                </a:solidFill>
              </a:rPr>
              <a:t>电磁学</a:t>
            </a:r>
            <a:endParaRPr lang="zh-CN" altLang="en-US" sz="1600">
              <a:solidFill>
                <a:srgbClr val="FF0000"/>
              </a:solidFill>
            </a:endParaRPr>
          </a:p>
          <a:p>
            <a:r>
              <a:rPr lang="zh-CN" altLang="en-US" sz="1600">
                <a:solidFill>
                  <a:srgbClr val="FF0000"/>
                </a:solidFill>
              </a:rPr>
              <a:t>高能物理</a:t>
            </a:r>
            <a:endParaRPr lang="zh-CN" altLang="en-US" sz="1600">
              <a:solidFill>
                <a:srgbClr val="FF0000"/>
              </a:solidFill>
            </a:endParaRPr>
          </a:p>
          <a:p>
            <a:r>
              <a:rPr lang="zh-CN" altLang="en-US" sz="1600">
                <a:solidFill>
                  <a:srgbClr val="FF0000"/>
                </a:solidFill>
              </a:rPr>
              <a:t>高温物理</a:t>
            </a:r>
            <a:endParaRPr lang="zh-CN" altLang="en-US" sz="1600">
              <a:solidFill>
                <a:srgbClr val="FF0000"/>
              </a:solidFill>
            </a:endParaRPr>
          </a:p>
          <a:p>
            <a:r>
              <a:rPr lang="zh-CN" altLang="en-US" sz="1600">
                <a:solidFill>
                  <a:srgbClr val="FF0000"/>
                </a:solidFill>
              </a:rPr>
              <a:t>无机化学</a:t>
            </a:r>
            <a:endParaRPr lang="zh-CN" altLang="en-US" sz="1600">
              <a:solidFill>
                <a:srgbClr val="FF0000"/>
              </a:solidFill>
            </a:endParaRPr>
          </a:p>
          <a:p>
            <a:r>
              <a:rPr lang="zh-CN" altLang="en-US" sz="1600">
                <a:solidFill>
                  <a:srgbClr val="FF0000"/>
                </a:solidFill>
              </a:rPr>
              <a:t>低温物理学</a:t>
            </a:r>
            <a:endParaRPr lang="zh-CN" altLang="en-US" sz="1600">
              <a:solidFill>
                <a:srgbClr val="FF0000"/>
              </a:solidFill>
            </a:endParaRPr>
          </a:p>
          <a:p>
            <a:r>
              <a:rPr lang="zh-CN" altLang="en-US" sz="1600">
                <a:solidFill>
                  <a:srgbClr val="FF0000"/>
                </a:solidFill>
              </a:rPr>
              <a:t>材料科学</a:t>
            </a:r>
            <a:endParaRPr lang="zh-CN" altLang="en-US" sz="1600">
              <a:solidFill>
                <a:srgbClr val="FF0000"/>
              </a:solidFill>
            </a:endParaRPr>
          </a:p>
          <a:p>
            <a:r>
              <a:rPr lang="zh-CN" altLang="en-US" sz="1600">
                <a:solidFill>
                  <a:srgbClr val="FF0000"/>
                </a:solidFill>
              </a:rPr>
              <a:t>力学</a:t>
            </a:r>
            <a:endParaRPr lang="zh-CN" altLang="en-US" sz="1600">
              <a:solidFill>
                <a:srgbClr val="FF0000"/>
              </a:solidFill>
            </a:endParaRPr>
          </a:p>
          <a:p>
            <a:r>
              <a:rPr lang="zh-CN" altLang="en-US" sz="1600">
                <a:solidFill>
                  <a:srgbClr val="FF0000"/>
                </a:solidFill>
              </a:rPr>
              <a:t>分子化学</a:t>
            </a:r>
            <a:endParaRPr lang="zh-CN" altLang="en-US" sz="1600">
              <a:solidFill>
                <a:srgbClr val="FF0000"/>
              </a:solidFill>
            </a:endParaRPr>
          </a:p>
          <a:p>
            <a:r>
              <a:rPr lang="zh-CN" altLang="en-US" sz="1600">
                <a:solidFill>
                  <a:srgbClr val="FF0000"/>
                </a:solidFill>
              </a:rPr>
              <a:t>分子物理学</a:t>
            </a:r>
            <a:endParaRPr lang="zh-CN" altLang="en-US" sz="1600">
              <a:solidFill>
                <a:srgbClr val="FF0000"/>
              </a:solidFill>
            </a:endParaRPr>
          </a:p>
          <a:p>
            <a:r>
              <a:rPr lang="zh-CN" altLang="en-US" sz="1600">
                <a:solidFill>
                  <a:srgbClr val="FF0000"/>
                </a:solidFill>
              </a:rPr>
              <a:t>纳米科学</a:t>
            </a:r>
            <a:endParaRPr lang="zh-CN" altLang="en-US" sz="1600">
              <a:solidFill>
                <a:srgbClr val="FF0000"/>
              </a:solidFill>
            </a:endParaRPr>
          </a:p>
          <a:p>
            <a:r>
              <a:rPr lang="zh-CN" altLang="en-US" sz="1600">
                <a:solidFill>
                  <a:srgbClr val="FF0000"/>
                </a:solidFill>
              </a:rPr>
              <a:t>有机化学</a:t>
            </a:r>
            <a:endParaRPr lang="zh-CN" altLang="en-US" sz="1600">
              <a:solidFill>
                <a:srgbClr val="FF0000"/>
              </a:solidFill>
            </a:endParaRPr>
          </a:p>
          <a:p>
            <a:r>
              <a:rPr lang="zh-CN" altLang="en-US" sz="1600">
                <a:solidFill>
                  <a:srgbClr val="FF0000"/>
                </a:solidFill>
              </a:rPr>
              <a:t>物理化学</a:t>
            </a:r>
            <a:endParaRPr lang="zh-CN" altLang="en-US" sz="1600">
              <a:solidFill>
                <a:srgbClr val="FF0000"/>
              </a:solidFill>
            </a:endParaRPr>
          </a:p>
          <a:p>
            <a:r>
              <a:rPr lang="zh-CN" altLang="en-US" sz="1600">
                <a:solidFill>
                  <a:srgbClr val="FF0000"/>
                </a:solidFill>
              </a:rPr>
              <a:t>等离子体物理</a:t>
            </a:r>
            <a:endParaRPr lang="zh-CN" altLang="en-US" sz="1600">
              <a:solidFill>
                <a:srgbClr val="FF0000"/>
              </a:solidFill>
            </a:endParaRPr>
          </a:p>
          <a:p>
            <a:r>
              <a:rPr lang="zh-CN" altLang="en-US" sz="1600">
                <a:solidFill>
                  <a:srgbClr val="FF0000"/>
                </a:solidFill>
              </a:rPr>
              <a:t>高分子化学</a:t>
            </a:r>
            <a:endParaRPr lang="zh-CN" altLang="en-US" sz="1600">
              <a:solidFill>
                <a:srgbClr val="FF0000"/>
              </a:solidFill>
            </a:endParaRPr>
          </a:p>
          <a:p>
            <a:r>
              <a:rPr lang="zh-CN" altLang="en-US" sz="1600">
                <a:solidFill>
                  <a:srgbClr val="FF0000"/>
                </a:solidFill>
              </a:rPr>
              <a:t>量子物理学</a:t>
            </a:r>
            <a:endParaRPr lang="zh-CN" altLang="en-US" sz="1600">
              <a:solidFill>
                <a:srgbClr val="FF0000"/>
              </a:solidFill>
            </a:endParaRPr>
          </a:p>
          <a:p>
            <a:r>
              <a:rPr lang="zh-CN" altLang="en-US" sz="1600">
                <a:solidFill>
                  <a:srgbClr val="FF0000"/>
                </a:solidFill>
              </a:rPr>
              <a:t>固体物理学</a:t>
            </a:r>
            <a:endParaRPr lang="zh-CN" altLang="en-US" sz="1600">
              <a:solidFill>
                <a:srgbClr val="FF0000"/>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p:nvPr/>
        </p:nvPicPr>
        <p:blipFill>
          <a:blip r:embed="rId1"/>
          <a:stretch>
            <a:fillRect/>
          </a:stretch>
        </p:blipFill>
        <p:spPr>
          <a:xfrm>
            <a:off x="75565" y="1196975"/>
            <a:ext cx="9068435" cy="5661025"/>
          </a:xfrm>
          <a:prstGeom prst="rect">
            <a:avLst/>
          </a:prstGeom>
        </p:spPr>
      </p:pic>
      <p:cxnSp>
        <p:nvCxnSpPr>
          <p:cNvPr id="44035" name="直接箭头连接符 5"/>
          <p:cNvCxnSpPr>
            <a:cxnSpLocks noChangeShapeType="1"/>
            <a:stCxn id="44036" idx="1"/>
          </p:cNvCxnSpPr>
          <p:nvPr/>
        </p:nvCxnSpPr>
        <p:spPr bwMode="auto">
          <a:xfrm rot="10800000" flipV="1">
            <a:off x="1989138" y="3896678"/>
            <a:ext cx="1214437" cy="1104900"/>
          </a:xfrm>
          <a:prstGeom prst="straightConnector1">
            <a:avLst/>
          </a:prstGeom>
          <a:noFill/>
          <a:ln w="9525" algn="ctr">
            <a:solidFill>
              <a:srgbClr val="FE0000"/>
            </a:solidFill>
            <a:round/>
            <a:tailEnd type="arrow" w="med" len="med"/>
          </a:ln>
          <a:extLst>
            <a:ext uri="{909E8E84-426E-40DD-AFC4-6F175D3DCCD1}">
              <a14:hiddenFill xmlns:a14="http://schemas.microsoft.com/office/drawing/2010/main">
                <a:noFill/>
              </a14:hiddenFill>
            </a:ext>
          </a:extLst>
        </p:spPr>
      </p:cxnSp>
      <p:sp>
        <p:nvSpPr>
          <p:cNvPr id="44036" name="TextBox 6"/>
          <p:cNvSpPr txBox="1">
            <a:spLocks noChangeArrowheads="1"/>
          </p:cNvSpPr>
          <p:nvPr/>
        </p:nvSpPr>
        <p:spPr bwMode="auto">
          <a:xfrm>
            <a:off x="3203575" y="3572828"/>
            <a:ext cx="56229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ea typeface="宋体" panose="02010600030101010101" pitchFamily="2" charset="-122"/>
              </a:rPr>
              <a:t>按照学校首字母</a:t>
            </a:r>
            <a:r>
              <a:rPr lang="en-US" altLang="zh-CN">
                <a:solidFill>
                  <a:srgbClr val="FF0000"/>
                </a:solidFill>
                <a:ea typeface="宋体" panose="02010600030101010101" pitchFamily="2" charset="-122"/>
              </a:rPr>
              <a:t>A to Z</a:t>
            </a:r>
            <a:r>
              <a:rPr lang="zh-CN" altLang="en-US">
                <a:solidFill>
                  <a:srgbClr val="FF0000"/>
                </a:solidFill>
                <a:ea typeface="宋体" panose="02010600030101010101" pitchFamily="2" charset="-122"/>
              </a:rPr>
              <a:t>排序</a:t>
            </a:r>
            <a:endParaRPr lang="en-US" altLang="zh-CN">
              <a:solidFill>
                <a:srgbClr val="FF0000"/>
              </a:solidFill>
              <a:ea typeface="宋体" panose="02010600030101010101" pitchFamily="2" charset="-122"/>
            </a:endParaRPr>
          </a:p>
          <a:p>
            <a:r>
              <a:rPr lang="zh-CN" altLang="en-US">
                <a:solidFill>
                  <a:srgbClr val="FF0000"/>
                </a:solidFill>
                <a:ea typeface="宋体" panose="02010600030101010101" pitchFamily="2" charset="-122"/>
              </a:rPr>
              <a:t>点击学校前方</a:t>
            </a:r>
            <a:r>
              <a:rPr lang="en-US" altLang="zh-CN">
                <a:solidFill>
                  <a:srgbClr val="FF0000"/>
                </a:solidFill>
                <a:ea typeface="宋体" panose="02010600030101010101" pitchFamily="2" charset="-122"/>
              </a:rPr>
              <a:t>+</a:t>
            </a:r>
            <a:r>
              <a:rPr lang="zh-CN" altLang="en-US">
                <a:solidFill>
                  <a:srgbClr val="FF0000"/>
                </a:solidFill>
                <a:ea typeface="宋体" panose="02010600030101010101" pitchFamily="2" charset="-122"/>
              </a:rPr>
              <a:t>，可打开学院清单，精准定位论文来源</a:t>
            </a:r>
            <a:endParaRPr lang="zh-CN" altLang="en-US">
              <a:solidFill>
                <a:srgbClr val="FF0000"/>
              </a:solidFill>
              <a:ea typeface="宋体" panose="02010600030101010101" pitchFamily="2" charset="-122"/>
            </a:endParaRPr>
          </a:p>
        </p:txBody>
      </p:sp>
      <p:sp>
        <p:nvSpPr>
          <p:cNvPr id="44037" name="标题 1"/>
          <p:cNvSpPr>
            <a:spLocks noGrp="1"/>
          </p:cNvSpPr>
          <p:nvPr>
            <p:ph type="title"/>
          </p:nvPr>
        </p:nvSpPr>
        <p:spPr bwMode="auto">
          <a:xfrm>
            <a:off x="500063" y="214313"/>
            <a:ext cx="82296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algn="ctr"/>
            <a:br>
              <a:rPr lang="en-US" altLang="zh-CN" sz="1200">
                <a:ea typeface="宋体" panose="02010600030101010101" pitchFamily="2" charset="-122"/>
              </a:rPr>
            </a:br>
            <a:r>
              <a:rPr lang="en-US" altLang="zh-CN" sz="2800">
                <a:ea typeface="宋体" panose="02010600030101010101" pitchFamily="2" charset="-122"/>
              </a:rPr>
              <a:t>PQDT</a:t>
            </a:r>
            <a:r>
              <a:rPr lang="zh-CN" altLang="en-US" sz="2800">
                <a:ea typeface="宋体" panose="02010600030101010101" pitchFamily="2" charset="-122"/>
              </a:rPr>
              <a:t>平台</a:t>
            </a:r>
            <a:r>
              <a:rPr lang="zh-CN" altLang="en-US" sz="2800">
                <a:ea typeface="宋体" panose="02010600030101010101" pitchFamily="2" charset="-122"/>
              </a:rPr>
              <a:t>分类导航</a:t>
            </a:r>
            <a:endParaRPr lang="zh-CN" altLang="en-US" sz="2800">
              <a:ea typeface="宋体" panose="02010600030101010101" pitchFamily="2" charset="-122"/>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sz="3600" dirty="0"/>
              <a:t>QS</a:t>
            </a:r>
            <a:r>
              <a:rPr lang="zh-CN" altLang="en-US" sz="3600" dirty="0"/>
              <a:t>全球高校排名</a:t>
            </a:r>
            <a:endParaRPr lang="zh-CN" altLang="en-US" sz="3600" dirty="0"/>
          </a:p>
        </p:txBody>
      </p:sp>
      <p:sp>
        <p:nvSpPr>
          <p:cNvPr id="5" name="文本框 4"/>
          <p:cNvSpPr txBox="1"/>
          <p:nvPr/>
        </p:nvSpPr>
        <p:spPr>
          <a:xfrm>
            <a:off x="1835150" y="6092825"/>
            <a:ext cx="5194935" cy="473710"/>
          </a:xfrm>
          <a:prstGeom prst="rect">
            <a:avLst/>
          </a:prstGeom>
          <a:noFill/>
        </p:spPr>
        <p:txBody>
          <a:bodyPr wrap="square" rtlCol="0">
            <a:noAutofit/>
          </a:bodyPr>
          <a:lstStyle/>
          <a:p>
            <a:r>
              <a:rPr lang="en-US" altLang="zh-CN" sz="2400" dirty="0">
                <a:solidFill>
                  <a:srgbClr val="FFFF00"/>
                </a:solidFill>
                <a:highlight>
                  <a:srgbClr val="FFFF00"/>
                </a:highlight>
                <a:hlinkClick r:id="rId1" action="ppaction://hlinkfile"/>
              </a:rPr>
              <a:t>https://www.topuniversities.com/</a:t>
            </a:r>
            <a:endParaRPr lang="en-US" altLang="zh-CN" sz="2400" dirty="0">
              <a:solidFill>
                <a:srgbClr val="FFFF00"/>
              </a:solidFill>
              <a:highlight>
                <a:srgbClr val="FFFF00"/>
              </a:highlight>
              <a:hlinkClick r:id="rId1" action="ppaction://hlinkfile"/>
            </a:endParaRPr>
          </a:p>
        </p:txBody>
      </p:sp>
      <p:pic>
        <p:nvPicPr>
          <p:cNvPr id="4" name="内容占位符 3"/>
          <p:cNvPicPr>
            <a:picLocks noChangeAspect="1"/>
          </p:cNvPicPr>
          <p:nvPr>
            <p:ph idx="1"/>
          </p:nvPr>
        </p:nvPicPr>
        <p:blipFill>
          <a:blip r:embed="rId2"/>
          <a:stretch>
            <a:fillRect/>
          </a:stretch>
        </p:blipFill>
        <p:spPr>
          <a:xfrm>
            <a:off x="118745" y="1052830"/>
            <a:ext cx="8907145" cy="5071745"/>
          </a:xfrm>
          <a:prstGeom prst="rect">
            <a:avLst/>
          </a:prstGeom>
        </p:spPr>
      </p:pic>
    </p:spTree>
    <p:custDataLst>
      <p:tags r:id="rId3"/>
    </p:custData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pic>
        <p:nvPicPr>
          <p:cNvPr id="7" name="内容占位符 6"/>
          <p:cNvPicPr>
            <a:picLocks noChangeAspect="1"/>
          </p:cNvPicPr>
          <p:nvPr>
            <p:ph idx="1"/>
          </p:nvPr>
        </p:nvPicPr>
        <p:blipFill>
          <a:blip r:embed="rId1"/>
          <a:stretch>
            <a:fillRect/>
          </a:stretch>
        </p:blipFill>
        <p:spPr>
          <a:xfrm>
            <a:off x="635" y="1341120"/>
            <a:ext cx="8229600" cy="2936240"/>
          </a:xfrm>
          <a:prstGeom prst="rect">
            <a:avLst/>
          </a:prstGeom>
        </p:spPr>
      </p:pic>
      <p:pic>
        <p:nvPicPr>
          <p:cNvPr id="3" name="图片 2"/>
          <p:cNvPicPr>
            <a:picLocks noChangeAspect="1"/>
          </p:cNvPicPr>
          <p:nvPr/>
        </p:nvPicPr>
        <p:blipFill>
          <a:blip r:embed="rId2"/>
          <a:stretch>
            <a:fillRect/>
          </a:stretch>
        </p:blipFill>
        <p:spPr>
          <a:xfrm>
            <a:off x="3492500" y="1917065"/>
            <a:ext cx="5658485" cy="4959985"/>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pic>
        <p:nvPicPr>
          <p:cNvPr id="4" name="内容占位符 3"/>
          <p:cNvPicPr>
            <a:picLocks noChangeAspect="1"/>
          </p:cNvPicPr>
          <p:nvPr>
            <p:ph idx="1"/>
          </p:nvPr>
        </p:nvPicPr>
        <p:blipFill>
          <a:blip r:embed="rId1"/>
          <a:stretch>
            <a:fillRect/>
          </a:stretch>
        </p:blipFill>
        <p:spPr>
          <a:xfrm>
            <a:off x="-36195" y="1268730"/>
            <a:ext cx="4991100" cy="5589905"/>
          </a:xfrm>
          <a:prstGeom prst="rect">
            <a:avLst/>
          </a:prstGeom>
        </p:spPr>
      </p:pic>
      <p:pic>
        <p:nvPicPr>
          <p:cNvPr id="5" name="图片 4"/>
          <p:cNvPicPr>
            <a:picLocks noChangeAspect="1"/>
          </p:cNvPicPr>
          <p:nvPr/>
        </p:nvPicPr>
        <p:blipFill>
          <a:blip r:embed="rId2"/>
          <a:stretch>
            <a:fillRect/>
          </a:stretch>
        </p:blipFill>
        <p:spPr>
          <a:xfrm>
            <a:off x="3644265" y="1701165"/>
            <a:ext cx="5118735" cy="2454910"/>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custDataLst>
              <p:tags r:id="rId1"/>
            </p:custDataLst>
          </p:nvPr>
        </p:nvPicPr>
        <p:blipFill>
          <a:blip r:embed="rId2"/>
          <a:stretch>
            <a:fillRect/>
          </a:stretch>
        </p:blipFill>
        <p:spPr>
          <a:xfrm>
            <a:off x="0" y="1193800"/>
            <a:ext cx="9144000" cy="5664200"/>
          </a:xfrm>
          <a:prstGeom prst="rect">
            <a:avLst/>
          </a:prstGeom>
        </p:spPr>
      </p:pic>
      <p:cxnSp>
        <p:nvCxnSpPr>
          <p:cNvPr id="45059" name="直接箭头连接符 5"/>
          <p:cNvCxnSpPr>
            <a:cxnSpLocks noChangeShapeType="1"/>
          </p:cNvCxnSpPr>
          <p:nvPr>
            <p:custDataLst>
              <p:tags r:id="rId3"/>
            </p:custDataLst>
          </p:nvPr>
        </p:nvCxnSpPr>
        <p:spPr bwMode="auto">
          <a:xfrm flipV="1">
            <a:off x="7715250" y="1556385"/>
            <a:ext cx="601345" cy="372745"/>
          </a:xfrm>
          <a:prstGeom prst="straightConnector1">
            <a:avLst/>
          </a:prstGeom>
          <a:ln>
            <a:tailEnd type="arrow" w="med" len="med"/>
          </a:ln>
          <a:extLst>
            <a:ext uri="{909E8E84-426E-40DD-AFC4-6F175D3DCCD1}">
              <a14:hiddenFill xmlns:a14="http://schemas.microsoft.com/office/drawing/2010/main">
                <a:noFill/>
              </a14:hiddenFill>
            </a:ext>
          </a:extLst>
        </p:spPr>
        <p:style>
          <a:lnRef idx="3">
            <a:schemeClr val="accent5"/>
          </a:lnRef>
          <a:fillRef idx="0">
            <a:schemeClr val="accent5"/>
          </a:fillRef>
          <a:effectRef idx="2">
            <a:schemeClr val="accent5"/>
          </a:effectRef>
          <a:fontRef idx="minor">
            <a:schemeClr val="tx1"/>
          </a:fontRef>
        </p:style>
      </p:cxnSp>
      <p:sp>
        <p:nvSpPr>
          <p:cNvPr id="45060" name="TextBox 6"/>
          <p:cNvSpPr txBox="1">
            <a:spLocks noChangeArrowheads="1"/>
          </p:cNvSpPr>
          <p:nvPr>
            <p:custDataLst>
              <p:tags r:id="rId4"/>
            </p:custDataLst>
          </p:nvPr>
        </p:nvSpPr>
        <p:spPr bwMode="auto">
          <a:xfrm>
            <a:off x="4929188" y="1928813"/>
            <a:ext cx="384048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dirty="0">
                <a:solidFill>
                  <a:srgbClr val="FF0000"/>
                </a:solidFill>
                <a:latin typeface="+mn-lt"/>
              </a:rPr>
              <a:t>点击平台界面上方用户登陆图标，</a:t>
            </a:r>
            <a:endParaRPr lang="zh-CN" altLang="en-US" dirty="0">
              <a:solidFill>
                <a:srgbClr val="FF0000"/>
              </a:solidFill>
              <a:latin typeface="+mn-lt"/>
            </a:endParaRPr>
          </a:p>
          <a:p>
            <a:r>
              <a:rPr lang="zh-CN" altLang="en-US" dirty="0">
                <a:solidFill>
                  <a:srgbClr val="FF0000"/>
                </a:solidFill>
                <a:latin typeface="+mn-lt"/>
              </a:rPr>
              <a:t>进入此界面可注册和登陆个性化账号</a:t>
            </a:r>
            <a:endParaRPr lang="zh-CN" altLang="en-US" dirty="0">
              <a:solidFill>
                <a:srgbClr val="FF0000"/>
              </a:solidFill>
              <a:latin typeface="+mn-lt"/>
            </a:endParaRPr>
          </a:p>
        </p:txBody>
      </p:sp>
      <p:cxnSp>
        <p:nvCxnSpPr>
          <p:cNvPr id="4" name="直接箭头连接符 5"/>
          <p:cNvCxnSpPr>
            <a:cxnSpLocks noChangeShapeType="1"/>
          </p:cNvCxnSpPr>
          <p:nvPr>
            <p:custDataLst>
              <p:tags r:id="rId5"/>
            </p:custDataLst>
          </p:nvPr>
        </p:nvCxnSpPr>
        <p:spPr bwMode="auto">
          <a:xfrm flipV="1">
            <a:off x="7379970" y="4436745"/>
            <a:ext cx="0" cy="576580"/>
          </a:xfrm>
          <a:prstGeom prst="straightConnector1">
            <a:avLst/>
          </a:prstGeom>
          <a:noFill/>
          <a:ln w="9525" algn="ctr">
            <a:solidFill>
              <a:srgbClr val="FF180D"/>
            </a:solidFill>
            <a:round/>
            <a:tailEnd type="arrow" w="med" len="med"/>
          </a:ln>
          <a:extLst>
            <a:ext uri="{909E8E84-426E-40DD-AFC4-6F175D3DCCD1}">
              <a14:hiddenFill xmlns:a14="http://schemas.microsoft.com/office/drawing/2010/main">
                <a:noFill/>
              </a14:hiddenFill>
            </a:ext>
          </a:extLst>
        </p:spPr>
      </p:cxnSp>
      <p:sp>
        <p:nvSpPr>
          <p:cNvPr id="5" name="TextBox 6"/>
          <p:cNvSpPr txBox="1">
            <a:spLocks noChangeArrowheads="1"/>
          </p:cNvSpPr>
          <p:nvPr>
            <p:custDataLst>
              <p:tags r:id="rId6"/>
            </p:custDataLst>
          </p:nvPr>
        </p:nvSpPr>
        <p:spPr bwMode="auto">
          <a:xfrm>
            <a:off x="5856288" y="5084763"/>
            <a:ext cx="291338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chemeClr val="dk1"/>
                </a:solidFill>
                <a:latin typeface="+mn-lt"/>
              </a:rPr>
              <a:t>平台支持</a:t>
            </a:r>
            <a:r>
              <a:rPr lang="en-US" altLang="zh-CN">
                <a:solidFill>
                  <a:schemeClr val="dk1"/>
                </a:solidFill>
                <a:latin typeface="+mn-lt"/>
              </a:rPr>
              <a:t>CARSI</a:t>
            </a:r>
            <a:r>
              <a:rPr lang="zh-CN" altLang="en-US">
                <a:solidFill>
                  <a:schemeClr val="dk1"/>
                </a:solidFill>
                <a:latin typeface="+mn-lt"/>
              </a:rPr>
              <a:t>账号登陆，</a:t>
            </a:r>
            <a:endParaRPr lang="zh-CN" altLang="en-US">
              <a:solidFill>
                <a:schemeClr val="dk1"/>
              </a:solidFill>
              <a:latin typeface="+mn-lt"/>
            </a:endParaRPr>
          </a:p>
          <a:p>
            <a:r>
              <a:rPr lang="zh-CN" altLang="en-US">
                <a:solidFill>
                  <a:schemeClr val="dk1"/>
                </a:solidFill>
                <a:latin typeface="+mn-lt"/>
              </a:rPr>
              <a:t>方便读者馆外访问</a:t>
            </a:r>
            <a:endParaRPr lang="zh-CN" altLang="en-US">
              <a:solidFill>
                <a:schemeClr val="dk1"/>
              </a:solidFill>
              <a:latin typeface="+mn-lt"/>
            </a:endParaRPr>
          </a:p>
        </p:txBody>
      </p:sp>
      <p:cxnSp>
        <p:nvCxnSpPr>
          <p:cNvPr id="6" name="直接箭头连接符 5"/>
          <p:cNvCxnSpPr>
            <a:cxnSpLocks noChangeShapeType="1"/>
          </p:cNvCxnSpPr>
          <p:nvPr>
            <p:custDataLst>
              <p:tags r:id="rId7"/>
            </p:custDataLst>
          </p:nvPr>
        </p:nvCxnSpPr>
        <p:spPr bwMode="auto">
          <a:xfrm flipV="1">
            <a:off x="2063115" y="4508500"/>
            <a:ext cx="0" cy="576580"/>
          </a:xfrm>
          <a:prstGeom prst="straightConnector1">
            <a:avLst/>
          </a:prstGeom>
          <a:noFill/>
          <a:ln w="9525" algn="ctr">
            <a:solidFill>
              <a:srgbClr val="FF180D"/>
            </a:solidFill>
            <a:round/>
            <a:tailEnd type="arrow" w="med" len="med"/>
          </a:ln>
          <a:extLst>
            <a:ext uri="{909E8E84-426E-40DD-AFC4-6F175D3DCCD1}">
              <a14:hiddenFill xmlns:a14="http://schemas.microsoft.com/office/drawing/2010/main">
                <a:noFill/>
              </a14:hiddenFill>
            </a:ext>
          </a:extLst>
        </p:spPr>
      </p:cxnSp>
      <p:sp>
        <p:nvSpPr>
          <p:cNvPr id="7" name="TextBox 6"/>
          <p:cNvSpPr txBox="1">
            <a:spLocks noChangeArrowheads="1"/>
          </p:cNvSpPr>
          <p:nvPr>
            <p:custDataLst>
              <p:tags r:id="rId8"/>
            </p:custDataLst>
          </p:nvPr>
        </p:nvSpPr>
        <p:spPr bwMode="auto">
          <a:xfrm>
            <a:off x="251143" y="5156518"/>
            <a:ext cx="38404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chemeClr val="dk1"/>
                </a:solidFill>
                <a:latin typeface="+mn-lt"/>
              </a:rPr>
              <a:t>如未注册个人账户点击进入注册界面</a:t>
            </a:r>
            <a:endParaRPr lang="zh-CN">
              <a:solidFill>
                <a:schemeClr val="dk1"/>
              </a:solidFill>
              <a:latin typeface="+mn-lt"/>
            </a:endParaRPr>
          </a:p>
        </p:txBody>
      </p:sp>
      <p:sp>
        <p:nvSpPr>
          <p:cNvPr id="14" name="标题 13"/>
          <p:cNvSpPr>
            <a:spLocks noGrp="1"/>
          </p:cNvSpPr>
          <p:nvPr>
            <p:ph type="title"/>
            <p:custDataLst>
              <p:tags r:id="rId9"/>
            </p:custDataLst>
          </p:nvPr>
        </p:nvSpPr>
        <p:spPr/>
        <p:txBody>
          <a:bodyPr vert="horz" wrap="square" lIns="0" tIns="0" rIns="0" bIns="0" rtlCol="0" anchor="b">
            <a:noAutofit/>
          </a:bodyPr>
          <a:lstStyle/>
          <a:p>
            <a:pPr lvl="0" algn="l">
              <a:buClrTx/>
              <a:buSzTx/>
              <a:buFontTx/>
            </a:pPr>
            <a:r>
              <a:rPr lang="zh-CN" altLang="en-US" sz="3200" dirty="0">
                <a:sym typeface="+mn-ea"/>
              </a:rPr>
              <a:t>
PQDT 平台个性化账号登陆</a:t>
            </a:r>
            <a:endParaRPr lang="zh-CN" altLang="en-US" sz="3200" dirty="0">
              <a:sym typeface="+mn-ea"/>
            </a:endParaRPr>
          </a:p>
        </p:txBody>
      </p:sp>
    </p:spTree>
    <p:custDataLst>
      <p:tags r:id="rId10"/>
    </p:custData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custDataLst>
              <p:tags r:id="rId1"/>
            </p:custDataLst>
          </p:nvPr>
        </p:nvPicPr>
        <p:blipFill>
          <a:blip r:embed="rId2"/>
          <a:srcRect l="388"/>
          <a:stretch>
            <a:fillRect/>
          </a:stretch>
        </p:blipFill>
        <p:spPr>
          <a:xfrm>
            <a:off x="0" y="1124744"/>
            <a:ext cx="9144000" cy="5733256"/>
          </a:xfrm>
          <a:prstGeom prst="rect">
            <a:avLst/>
          </a:prstGeom>
        </p:spPr>
      </p:pic>
      <p:cxnSp>
        <p:nvCxnSpPr>
          <p:cNvPr id="46083" name="直接箭头连接符 5"/>
          <p:cNvCxnSpPr>
            <a:cxnSpLocks noChangeShapeType="1"/>
          </p:cNvCxnSpPr>
          <p:nvPr>
            <p:custDataLst>
              <p:tags r:id="rId3"/>
            </p:custDataLst>
          </p:nvPr>
        </p:nvCxnSpPr>
        <p:spPr bwMode="auto">
          <a:xfrm>
            <a:off x="3811905" y="2595562"/>
            <a:ext cx="500062" cy="71438"/>
          </a:xfrm>
          <a:prstGeom prst="straightConnector1">
            <a:avLst/>
          </a:prstGeom>
          <a:ln>
            <a:tailEnd type="arrow" w="med" len="med"/>
          </a:ln>
          <a:extLst>
            <a:ext uri="{909E8E84-426E-40DD-AFC4-6F175D3DCCD1}">
              <a14:hiddenFill xmlns:a14="http://schemas.microsoft.com/office/drawing/2010/main">
                <a:noFill/>
              </a14:hiddenFill>
            </a:ext>
          </a:extLst>
        </p:spPr>
        <p:style>
          <a:lnRef idx="3">
            <a:schemeClr val="accent5"/>
          </a:lnRef>
          <a:fillRef idx="0">
            <a:schemeClr val="accent5"/>
          </a:fillRef>
          <a:effectRef idx="2">
            <a:schemeClr val="accent5"/>
          </a:effectRef>
          <a:fontRef idx="minor">
            <a:schemeClr val="tx1"/>
          </a:fontRef>
        </p:style>
      </p:cxnSp>
      <p:sp>
        <p:nvSpPr>
          <p:cNvPr id="46084" name="TextBox 6"/>
          <p:cNvSpPr txBox="1">
            <a:spLocks noChangeArrowheads="1"/>
          </p:cNvSpPr>
          <p:nvPr>
            <p:custDataLst>
              <p:tags r:id="rId4"/>
            </p:custDataLst>
          </p:nvPr>
        </p:nvSpPr>
        <p:spPr bwMode="auto">
          <a:xfrm>
            <a:off x="428625" y="1857375"/>
            <a:ext cx="338328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dirty="0">
                <a:solidFill>
                  <a:srgbClr val="FF0000"/>
                </a:solidFill>
                <a:latin typeface="+mn-lt"/>
              </a:rPr>
              <a:t>注册账号时，读者需要注意账号</a:t>
            </a:r>
            <a:endParaRPr lang="en-US" altLang="zh-CN" dirty="0">
              <a:solidFill>
                <a:srgbClr val="FF0000"/>
              </a:solidFill>
              <a:latin typeface="+mn-lt"/>
            </a:endParaRPr>
          </a:p>
          <a:p>
            <a:r>
              <a:rPr lang="zh-CN" altLang="en-US" dirty="0">
                <a:solidFill>
                  <a:srgbClr val="FF0000"/>
                </a:solidFill>
                <a:latin typeface="+mn-lt"/>
              </a:rPr>
              <a:t>密码填写要求，确保邮箱准确，</a:t>
            </a:r>
            <a:endParaRPr lang="en-US" altLang="zh-CN" dirty="0">
              <a:solidFill>
                <a:srgbClr val="FF0000"/>
              </a:solidFill>
              <a:latin typeface="+mn-lt"/>
            </a:endParaRPr>
          </a:p>
          <a:p>
            <a:r>
              <a:rPr lang="zh-CN" altLang="en-US" dirty="0">
                <a:solidFill>
                  <a:srgbClr val="FF0000"/>
                </a:solidFill>
                <a:latin typeface="+mn-lt"/>
              </a:rPr>
              <a:t>荐购论文上线后会推送邮件告知</a:t>
            </a:r>
            <a:endParaRPr lang="en-US" altLang="zh-CN" dirty="0">
              <a:solidFill>
                <a:srgbClr val="FF0000"/>
              </a:solidFill>
              <a:latin typeface="+mn-lt"/>
            </a:endParaRPr>
          </a:p>
          <a:p>
            <a:r>
              <a:rPr lang="zh-CN" altLang="en-US" dirty="0">
                <a:solidFill>
                  <a:srgbClr val="FF0000"/>
                </a:solidFill>
                <a:latin typeface="+mn-lt"/>
              </a:rPr>
              <a:t>身份及院系建议填写完备，可以</a:t>
            </a:r>
            <a:endParaRPr lang="en-US" altLang="zh-CN" dirty="0">
              <a:solidFill>
                <a:srgbClr val="FF0000"/>
              </a:solidFill>
              <a:latin typeface="+mn-lt"/>
            </a:endParaRPr>
          </a:p>
          <a:p>
            <a:r>
              <a:rPr lang="zh-CN" altLang="en-US" dirty="0">
                <a:solidFill>
                  <a:srgbClr val="FF0000"/>
                </a:solidFill>
                <a:latin typeface="+mn-lt"/>
              </a:rPr>
              <a:t>提升管理员审核通过率</a:t>
            </a:r>
            <a:endParaRPr lang="zh-CN" altLang="en-US" dirty="0">
              <a:solidFill>
                <a:srgbClr val="FF0000"/>
              </a:solidFill>
              <a:latin typeface="+mn-lt"/>
            </a:endParaRPr>
          </a:p>
        </p:txBody>
      </p:sp>
      <p:sp>
        <p:nvSpPr>
          <p:cNvPr id="10" name="标题 9"/>
          <p:cNvSpPr>
            <a:spLocks noGrp="1"/>
          </p:cNvSpPr>
          <p:nvPr>
            <p:ph type="title"/>
            <p:custDataLst>
              <p:tags r:id="rId5"/>
            </p:custDataLst>
          </p:nvPr>
        </p:nvSpPr>
        <p:spPr/>
        <p:txBody>
          <a:bodyPr vert="horz" wrap="square" lIns="0" tIns="0" rIns="0" bIns="0" rtlCol="0" anchor="b">
            <a:noAutofit/>
          </a:bodyPr>
          <a:lstStyle/>
          <a:p>
            <a:r>
              <a:rPr lang="zh-CN" altLang="en-US" sz="3200" dirty="0">
                <a:sym typeface="+mn-ea"/>
              </a:rPr>
              <a:t>
PQDT 平台个性化账号注册</a:t>
            </a:r>
            <a:endParaRPr lang="zh-CN" altLang="en-US" sz="3200" dirty="0">
              <a:sym typeface="+mn-ea"/>
            </a:endParaRPr>
          </a:p>
        </p:txBody>
      </p:sp>
    </p:spTree>
    <p:custDataLst>
      <p:tags r:id="rId6"/>
    </p:custData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f2a9153860a7e8bea39bc75f5bbf645"/>
          <p:cNvPicPr>
            <a:picLocks noChangeAspect="1"/>
          </p:cNvPicPr>
          <p:nvPr>
            <p:custDataLst>
              <p:tags r:id="rId1"/>
            </p:custDataLst>
          </p:nvPr>
        </p:nvPicPr>
        <p:blipFill>
          <a:blip r:embed="rId2"/>
          <a:stretch>
            <a:fillRect/>
          </a:stretch>
        </p:blipFill>
        <p:spPr>
          <a:xfrm>
            <a:off x="500380" y="1412875"/>
            <a:ext cx="8229600" cy="5143500"/>
          </a:xfrm>
          <a:prstGeom prst="rect">
            <a:avLst/>
          </a:prstGeom>
        </p:spPr>
      </p:pic>
      <p:cxnSp>
        <p:nvCxnSpPr>
          <p:cNvPr id="46083" name="直接箭头连接符 5"/>
          <p:cNvCxnSpPr>
            <a:cxnSpLocks noChangeShapeType="1"/>
          </p:cNvCxnSpPr>
          <p:nvPr>
            <p:custDataLst>
              <p:tags r:id="rId3"/>
            </p:custDataLst>
          </p:nvPr>
        </p:nvCxnSpPr>
        <p:spPr bwMode="auto">
          <a:xfrm>
            <a:off x="2268220" y="2565400"/>
            <a:ext cx="1727835" cy="720090"/>
          </a:xfrm>
          <a:prstGeom prst="straightConnector1">
            <a:avLst/>
          </a:prstGeom>
          <a:noFill/>
          <a:ln w="9525" algn="ctr">
            <a:solidFill>
              <a:srgbClr val="FF180D"/>
            </a:solidFill>
            <a:round/>
            <a:tailEnd type="arrow" w="med" len="med"/>
          </a:ln>
          <a:extLst>
            <a:ext uri="{909E8E84-426E-40DD-AFC4-6F175D3DCCD1}">
              <a14:hiddenFill xmlns:a14="http://schemas.microsoft.com/office/drawing/2010/main">
                <a:noFill/>
              </a14:hiddenFill>
            </a:ext>
          </a:extLst>
        </p:spPr>
      </p:cxnSp>
      <p:sp>
        <p:nvSpPr>
          <p:cNvPr id="46084" name="TextBox 6"/>
          <p:cNvSpPr txBox="1">
            <a:spLocks noChangeArrowheads="1"/>
          </p:cNvSpPr>
          <p:nvPr>
            <p:custDataLst>
              <p:tags r:id="rId4"/>
            </p:custDataLst>
          </p:nvPr>
        </p:nvSpPr>
        <p:spPr bwMode="auto">
          <a:xfrm>
            <a:off x="428625" y="1857375"/>
            <a:ext cx="2595880" cy="92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solidFill>
                  <a:srgbClr val="FF0000"/>
                </a:solidFill>
                <a:latin typeface="+mn-lt"/>
              </a:rPr>
              <a:t>首次注册成功，在所在机构所处</a:t>
            </a:r>
            <a:r>
              <a:rPr lang="en-US" altLang="zh-CN">
                <a:solidFill>
                  <a:srgbClr val="FF0000"/>
                </a:solidFill>
                <a:latin typeface="+mn-lt"/>
              </a:rPr>
              <a:t>IP</a:t>
            </a:r>
            <a:r>
              <a:rPr lang="zh-CN" altLang="en-US">
                <a:solidFill>
                  <a:srgbClr val="FF0000"/>
                </a:solidFill>
                <a:latin typeface="+mn-lt"/>
              </a:rPr>
              <a:t>下会提示绑定账户到该机构</a:t>
            </a:r>
            <a:endParaRPr lang="zh-CN" altLang="en-US">
              <a:solidFill>
                <a:srgbClr val="FF0000"/>
              </a:solidFill>
              <a:latin typeface="+mn-lt"/>
            </a:endParaRPr>
          </a:p>
        </p:txBody>
      </p:sp>
      <p:sp>
        <p:nvSpPr>
          <p:cNvPr id="10" name="标题 9"/>
          <p:cNvSpPr>
            <a:spLocks noGrp="1"/>
          </p:cNvSpPr>
          <p:nvPr>
            <p:ph type="title"/>
            <p:custDataLst>
              <p:tags r:id="rId5"/>
            </p:custDataLst>
          </p:nvPr>
        </p:nvSpPr>
        <p:spPr/>
        <p:txBody>
          <a:bodyPr vert="horz" wrap="square" lIns="0" tIns="0" rIns="0" bIns="0" rtlCol="0" anchor="b">
            <a:noAutofit/>
          </a:bodyPr>
          <a:lstStyle/>
          <a:p>
            <a:r>
              <a:rPr lang="zh-CN" altLang="en-US" sz="3200" dirty="0">
                <a:sym typeface="+mn-ea"/>
              </a:rPr>
              <a:t>
PQDT平台个性化账号注册</a:t>
            </a:r>
            <a:endParaRPr lang="zh-CN" altLang="en-US" sz="3200" dirty="0">
              <a:sym typeface="+mn-ea"/>
            </a:endParaRPr>
          </a:p>
        </p:txBody>
      </p:sp>
    </p:spTree>
    <p:custDataLst>
      <p:tags r:id="rId6"/>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7"/>
          <p:cNvPicPr>
            <a:picLocks noChangeAspect="1" noChangeArrowheads="1"/>
          </p:cNvPicPr>
          <p:nvPr>
            <p:custDataLst>
              <p:tags r:id="rId1"/>
            </p:custDataLst>
          </p:nvPr>
        </p:nvPicPr>
        <p:blipFill>
          <a:blip r:embed="rId2">
            <a:extLst>
              <a:ext uri="{28A0092B-C50C-407E-A947-70E740481C1C}">
                <a14:useLocalDpi xmlns:a14="http://schemas.microsoft.com/office/drawing/2010/main" val="0"/>
              </a:ext>
            </a:extLst>
          </a:blip>
          <a:srcRect/>
          <a:stretch>
            <a:fillRect/>
          </a:stretch>
        </p:blipFill>
        <p:spPr bwMode="auto">
          <a:xfrm>
            <a:off x="0" y="1124744"/>
            <a:ext cx="9144000" cy="573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7107" name="直接箭头连接符 5"/>
          <p:cNvCxnSpPr>
            <a:cxnSpLocks noChangeShapeType="1"/>
          </p:cNvCxnSpPr>
          <p:nvPr>
            <p:custDataLst>
              <p:tags r:id="rId3"/>
            </p:custDataLst>
          </p:nvPr>
        </p:nvCxnSpPr>
        <p:spPr bwMode="auto">
          <a:xfrm rot="5400000" flipH="1" flipV="1">
            <a:off x="7072313" y="4643438"/>
            <a:ext cx="285750" cy="285750"/>
          </a:xfrm>
          <a:prstGeom prst="straightConnector1">
            <a:avLst/>
          </a:prstGeom>
          <a:ln>
            <a:tailEnd type="arrow" w="med" len="med"/>
          </a:ln>
          <a:extLst>
            <a:ext uri="{909E8E84-426E-40DD-AFC4-6F175D3DCCD1}">
              <a14:hiddenFill xmlns:a14="http://schemas.microsoft.com/office/drawing/2010/main">
                <a:noFill/>
              </a14:hiddenFill>
            </a:ext>
          </a:extLst>
        </p:spPr>
        <p:style>
          <a:lnRef idx="3">
            <a:schemeClr val="accent5"/>
          </a:lnRef>
          <a:fillRef idx="0">
            <a:schemeClr val="accent5"/>
          </a:fillRef>
          <a:effectRef idx="2">
            <a:schemeClr val="accent5"/>
          </a:effectRef>
          <a:fontRef idx="minor">
            <a:schemeClr val="tx1"/>
          </a:fontRef>
        </p:style>
      </p:cxnSp>
      <p:sp>
        <p:nvSpPr>
          <p:cNvPr id="47108" name="TextBox 6"/>
          <p:cNvSpPr txBox="1">
            <a:spLocks noChangeArrowheads="1"/>
          </p:cNvSpPr>
          <p:nvPr>
            <p:custDataLst>
              <p:tags r:id="rId4"/>
            </p:custDataLst>
          </p:nvPr>
        </p:nvSpPr>
        <p:spPr bwMode="auto">
          <a:xfrm>
            <a:off x="5143500" y="5000625"/>
            <a:ext cx="33832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dirty="0">
                <a:solidFill>
                  <a:srgbClr val="FF0000"/>
                </a:solidFill>
                <a:latin typeface="+mn-lt"/>
              </a:rPr>
              <a:t>如注册后需完善数据可进行编辑</a:t>
            </a:r>
            <a:endParaRPr lang="zh-CN" altLang="en-US" dirty="0">
              <a:solidFill>
                <a:srgbClr val="FF0000"/>
              </a:solidFill>
              <a:latin typeface="+mn-lt"/>
            </a:endParaRPr>
          </a:p>
        </p:txBody>
      </p:sp>
      <p:sp>
        <p:nvSpPr>
          <p:cNvPr id="5" name="标题 4"/>
          <p:cNvSpPr>
            <a:spLocks noGrp="1"/>
          </p:cNvSpPr>
          <p:nvPr>
            <p:ph type="title"/>
            <p:custDataLst>
              <p:tags r:id="rId5"/>
            </p:custDataLst>
          </p:nvPr>
        </p:nvSpPr>
        <p:spPr/>
        <p:txBody>
          <a:bodyPr vert="horz" wrap="square" lIns="0" tIns="0" rIns="0" bIns="0" rtlCol="0" anchor="b">
            <a:noAutofit/>
          </a:bodyPr>
          <a:lstStyle/>
          <a:p>
            <a:pPr lvl="0" algn="l">
              <a:buClrTx/>
              <a:buSzTx/>
              <a:buFontTx/>
            </a:pPr>
            <a:r>
              <a:rPr lang="zh-CN" altLang="en-US" sz="3200" dirty="0">
                <a:sym typeface="+mn-ea"/>
              </a:rPr>
              <a:t>
PQDT 平台个性化账号界面</a:t>
            </a:r>
            <a:endParaRPr lang="zh-CN" altLang="en-US" sz="3200" dirty="0">
              <a:sym typeface="+mn-ea"/>
            </a:endParaRPr>
          </a:p>
        </p:txBody>
      </p:sp>
    </p:spTree>
    <p:custDataLst>
      <p:tags r:id="rId6"/>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Object 5"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20" name="Slide Number Placeholder 3"/>
          <p:cNvSpPr>
            <a:spLocks noGrp="1"/>
          </p:cNvSpPr>
          <p:nvPr>
            <p:custDataLst>
              <p:tags r:id="rId4"/>
            </p:custDataLst>
          </p:nvPr>
        </p:nvSpPr>
        <p:spPr>
          <a:xfrm>
            <a:off x="8629650" y="6348353"/>
            <a:ext cx="162000" cy="215900"/>
          </a:xfr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4159E-D75D-1D4C-AB47-8DAEB39BDE1C}" type="slidenum">
              <a:rPr lang="en-US" sz="100" smtClean="0">
                <a:solidFill>
                  <a:schemeClr val="tx1"/>
                </a:solidFill>
              </a:rPr>
            </a:fld>
            <a:endParaRPr lang="en-US" sz="100">
              <a:solidFill>
                <a:schemeClr val="tx1"/>
              </a:solidFill>
            </a:endParaRPr>
          </a:p>
        </p:txBody>
      </p:sp>
      <p:sp>
        <p:nvSpPr>
          <p:cNvPr id="10" name="Title 1"/>
          <p:cNvSpPr>
            <a:spLocks noGrp="1"/>
          </p:cNvSpPr>
          <p:nvPr>
            <p:custDataLst>
              <p:tags r:id="rId5"/>
            </p:custDataLst>
          </p:nvPr>
        </p:nvSpPr>
        <p:spPr>
          <a:xfrm>
            <a:off x="521970" y="1412776"/>
            <a:ext cx="3816097" cy="540000"/>
          </a:xfrm>
        </p:spPr>
        <p:txBody>
          <a:bodyPr vert="horz" wrap="square" lIns="0" tIns="34290" rIns="68580" bIns="34290" rtlCol="0" anchor="t">
            <a:normAutofit/>
          </a:bodyPr>
          <a:lstStyle>
            <a:lvl1pPr algn="r" rtl="0" eaLnBrk="0" fontAlgn="base" hangingPunct="0">
              <a:spcBef>
                <a:spcPct val="0"/>
              </a:spcBef>
              <a:spcAft>
                <a:spcPct val="0"/>
              </a:spcAft>
              <a:defRPr sz="3200">
                <a:solidFill>
                  <a:schemeClr val="accent1"/>
                </a:solidFill>
                <a:latin typeface="+mj-lt"/>
                <a:ea typeface="+mj-ea"/>
                <a:cs typeface="+mj-cs"/>
              </a:defRPr>
            </a:lvl1pPr>
            <a:lvl2pPr algn="r" rtl="0" eaLnBrk="0" fontAlgn="base" hangingPunct="0">
              <a:spcBef>
                <a:spcPct val="0"/>
              </a:spcBef>
              <a:spcAft>
                <a:spcPct val="0"/>
              </a:spcAft>
              <a:defRPr sz="3200">
                <a:solidFill>
                  <a:schemeClr val="bg1"/>
                </a:solidFill>
                <a:latin typeface="Verdana" panose="020B0604030504040204" pitchFamily="34" charset="0"/>
              </a:defRPr>
            </a:lvl2pPr>
            <a:lvl3pPr algn="r" rtl="0" eaLnBrk="0" fontAlgn="base" hangingPunct="0">
              <a:spcBef>
                <a:spcPct val="0"/>
              </a:spcBef>
              <a:spcAft>
                <a:spcPct val="0"/>
              </a:spcAft>
              <a:defRPr sz="3200">
                <a:solidFill>
                  <a:schemeClr val="bg1"/>
                </a:solidFill>
                <a:latin typeface="Verdana" panose="020B0604030504040204" pitchFamily="34" charset="0"/>
              </a:defRPr>
            </a:lvl3pPr>
            <a:lvl4pPr algn="r" rtl="0" eaLnBrk="0" fontAlgn="base" hangingPunct="0">
              <a:spcBef>
                <a:spcPct val="0"/>
              </a:spcBef>
              <a:spcAft>
                <a:spcPct val="0"/>
              </a:spcAft>
              <a:defRPr sz="3200">
                <a:solidFill>
                  <a:schemeClr val="bg1"/>
                </a:solidFill>
                <a:latin typeface="Verdana" panose="020B0604030504040204" pitchFamily="34" charset="0"/>
              </a:defRPr>
            </a:lvl4pPr>
            <a:lvl5pPr algn="r" rtl="0" eaLnBrk="0" fontAlgn="base" hangingPunct="0">
              <a:spcBef>
                <a:spcPct val="0"/>
              </a:spcBef>
              <a:spcAft>
                <a:spcPct val="0"/>
              </a:spcAft>
              <a:defRPr sz="3200">
                <a:solidFill>
                  <a:schemeClr val="bg1"/>
                </a:solidFill>
                <a:latin typeface="Verdana" panose="020B0604030504040204" pitchFamily="34" charset="0"/>
              </a:defRPr>
            </a:lvl5pPr>
            <a:lvl6pPr marL="457200" algn="r" rtl="0" fontAlgn="base">
              <a:spcBef>
                <a:spcPct val="0"/>
              </a:spcBef>
              <a:spcAft>
                <a:spcPct val="0"/>
              </a:spcAft>
              <a:defRPr sz="3200">
                <a:solidFill>
                  <a:schemeClr val="bg1"/>
                </a:solidFill>
                <a:latin typeface="Verdana" panose="020B0604030504040204" pitchFamily="34" charset="0"/>
              </a:defRPr>
            </a:lvl6pPr>
            <a:lvl7pPr marL="914400" algn="r" rtl="0" fontAlgn="base">
              <a:spcBef>
                <a:spcPct val="0"/>
              </a:spcBef>
              <a:spcAft>
                <a:spcPct val="0"/>
              </a:spcAft>
              <a:defRPr sz="3200">
                <a:solidFill>
                  <a:schemeClr val="bg1"/>
                </a:solidFill>
                <a:latin typeface="Verdana" panose="020B0604030504040204" pitchFamily="34" charset="0"/>
              </a:defRPr>
            </a:lvl7pPr>
            <a:lvl8pPr marL="1371600" algn="r" rtl="0" fontAlgn="base">
              <a:spcBef>
                <a:spcPct val="0"/>
              </a:spcBef>
              <a:spcAft>
                <a:spcPct val="0"/>
              </a:spcAft>
              <a:defRPr sz="3200">
                <a:solidFill>
                  <a:schemeClr val="bg1"/>
                </a:solidFill>
                <a:latin typeface="Verdana" panose="020B0604030504040204" pitchFamily="34" charset="0"/>
              </a:defRPr>
            </a:lvl8pPr>
            <a:lvl9pPr marL="1828800" algn="r" rtl="0" fontAlgn="base">
              <a:spcBef>
                <a:spcPct val="0"/>
              </a:spcBef>
              <a:spcAft>
                <a:spcPct val="0"/>
              </a:spcAft>
              <a:defRPr sz="3200">
                <a:solidFill>
                  <a:schemeClr val="bg1"/>
                </a:solidFill>
                <a:latin typeface="Verdana" panose="020B0604030504040204" pitchFamily="34" charset="0"/>
              </a:defRPr>
            </a:lvl9pPr>
          </a:lstStyle>
          <a:p>
            <a:pPr algn="l"/>
            <a:r>
              <a:rPr lang="zh-CN" altLang="en-US" sz="2400" b="1" dirty="0">
                <a:solidFill>
                  <a:schemeClr val="accent1"/>
                </a:solidFill>
                <a:latin typeface="+mn-lt"/>
                <a:ea typeface="+mn-ea"/>
                <a:cs typeface="Open Sans" panose="020B0606030504020204" pitchFamily="34" charset="0"/>
              </a:rPr>
              <a:t>自然科学 </a:t>
            </a:r>
            <a:r>
              <a:rPr lang="en-US" altLang="zh-CN" sz="2400" b="1" dirty="0">
                <a:solidFill>
                  <a:schemeClr val="accent1"/>
                </a:solidFill>
                <a:latin typeface="+mn-lt"/>
                <a:ea typeface="+mn-ea"/>
                <a:cs typeface="Open Sans" panose="020B0606030504020204" pitchFamily="34" charset="0"/>
              </a:rPr>
              <a:t>- </a:t>
            </a:r>
            <a:r>
              <a:rPr lang="zh-CN" altLang="en-US" sz="2400" b="1" dirty="0">
                <a:solidFill>
                  <a:schemeClr val="accent1"/>
                </a:solidFill>
                <a:latin typeface="+mn-lt"/>
                <a:ea typeface="+mn-ea"/>
                <a:cs typeface="Open Sans" panose="020B0606030504020204" pitchFamily="34" charset="0"/>
              </a:rPr>
              <a:t>学位论文</a:t>
            </a:r>
            <a:endParaRPr lang="zh-CN" altLang="en-US" sz="2400" b="1" dirty="0">
              <a:solidFill>
                <a:schemeClr val="accent1"/>
              </a:solidFill>
              <a:latin typeface="+mn-lt"/>
              <a:ea typeface="+mn-ea"/>
              <a:cs typeface="Open Sans" panose="020B0606030504020204" pitchFamily="34" charset="0"/>
            </a:endParaRPr>
          </a:p>
        </p:txBody>
      </p:sp>
      <p:sp>
        <p:nvSpPr>
          <p:cNvPr id="18" name="Text Placeholder 7"/>
          <p:cNvSpPr>
            <a:spLocks noGrp="1"/>
          </p:cNvSpPr>
          <p:nvPr>
            <p:custDataLst>
              <p:tags r:id="rId6"/>
            </p:custDataLst>
          </p:nvPr>
        </p:nvSpPr>
        <p:spPr>
          <a:xfrm>
            <a:off x="521970" y="2375552"/>
            <a:ext cx="2969910" cy="3502241"/>
          </a:xfrm>
        </p:spPr>
        <p:txBody>
          <a:bodyPr vert="horz" wrap="square" lIns="0" tIns="0" rIns="0" bIns="0" rtlCol="0">
            <a:normAutofit/>
          </a:bodyPr>
          <a:lstStyle>
            <a:lvl1pPr marL="342900" indent="-342900" algn="l" rtl="0" eaLnBrk="0" fontAlgn="base" hangingPunct="0">
              <a:spcBef>
                <a:spcPct val="20000"/>
              </a:spcBef>
              <a:spcAft>
                <a:spcPct val="0"/>
              </a:spcAft>
              <a:buClr>
                <a:schemeClr val="tx1"/>
              </a:buClr>
              <a:buSzPct val="120000"/>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85000"/>
              <a:buFont typeface="Arial" panose="020B0604020202020204" pitchFamily="34" charset="0"/>
              <a:buChar char="–"/>
              <a:defRPr sz="2400">
                <a:solidFill>
                  <a:schemeClr val="tx2"/>
                </a:solidFill>
                <a:latin typeface="+mn-lt"/>
              </a:defRPr>
            </a:lvl2pPr>
            <a:lvl3pPr marL="1143000" indent="-228600" algn="l" rtl="0" eaLnBrk="0" fontAlgn="base" hangingPunct="0">
              <a:spcBef>
                <a:spcPct val="20000"/>
              </a:spcBef>
              <a:spcAft>
                <a:spcPct val="0"/>
              </a:spcAft>
              <a:buClr>
                <a:schemeClr val="tx1"/>
              </a:buClr>
              <a:buFont typeface="Wingdings" panose="05000000000000000000" pitchFamily="2" charset="2"/>
              <a:buChar char="§"/>
              <a:defRPr sz="2400">
                <a:solidFill>
                  <a:schemeClr val="tx2"/>
                </a:solidFill>
                <a:latin typeface="+mn-lt"/>
              </a:defRPr>
            </a:lvl3pPr>
            <a:lvl4pPr marL="1600200" indent="-228600" algn="l" rtl="0" eaLnBrk="0" fontAlgn="base" hangingPunct="0">
              <a:spcBef>
                <a:spcPct val="20000"/>
              </a:spcBef>
              <a:spcAft>
                <a:spcPct val="0"/>
              </a:spcAft>
              <a:buClr>
                <a:schemeClr val="tx1"/>
              </a:buClr>
              <a:buSzPct val="75000"/>
              <a:buFont typeface="Arial" panose="020B0604020202020204" pitchFamily="34" charset="0"/>
              <a:buChar char="–"/>
              <a:defRPr sz="2000">
                <a:solidFill>
                  <a:schemeClr val="tx2"/>
                </a:solidFill>
                <a:latin typeface="+mn-lt"/>
              </a:defRPr>
            </a:lvl4pPr>
            <a:lvl5pPr marL="2057400" indent="-228600" algn="l" rtl="0" eaLnBrk="0" fontAlgn="base" hangingPunct="0">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5pPr>
            <a:lvl6pPr marL="25146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6pPr>
            <a:lvl7pPr marL="29718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7pPr>
            <a:lvl8pPr marL="34290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8pPr>
            <a:lvl9pPr marL="38862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9pPr>
          </a:lstStyle>
          <a:p>
            <a:pPr marL="0" indent="0">
              <a:lnSpc>
                <a:spcPct val="150000"/>
              </a:lnSpc>
              <a:buNone/>
            </a:pPr>
            <a:r>
              <a:rPr lang="zh-CN" altLang="en-US" sz="2000" b="1" dirty="0">
                <a:solidFill>
                  <a:schemeClr val="tx1"/>
                </a:solidFill>
              </a:rPr>
              <a:t>提供了丰富的数据，包含</a:t>
            </a:r>
            <a:r>
              <a:rPr lang="zh-CN" altLang="en-US" sz="2000" b="1" dirty="0">
                <a:solidFill>
                  <a:srgbClr val="FFFF00"/>
                </a:solidFill>
              </a:rPr>
              <a:t>实验结果</a:t>
            </a:r>
            <a:r>
              <a:rPr lang="zh-CN" altLang="en-US" sz="2000" b="1" dirty="0">
                <a:solidFill>
                  <a:schemeClr val="tx1"/>
                </a:solidFill>
              </a:rPr>
              <a:t>、</a:t>
            </a:r>
            <a:r>
              <a:rPr lang="zh-CN" altLang="en-US" sz="2000" b="1" dirty="0">
                <a:solidFill>
                  <a:srgbClr val="FFFF00"/>
                </a:solidFill>
              </a:rPr>
              <a:t>实地调研考察</a:t>
            </a:r>
            <a:r>
              <a:rPr lang="zh-CN" altLang="en-US" sz="2000" b="1" dirty="0">
                <a:solidFill>
                  <a:schemeClr val="tx1"/>
                </a:solidFill>
              </a:rPr>
              <a:t>、</a:t>
            </a:r>
            <a:r>
              <a:rPr lang="zh-CN" altLang="en-US" sz="2000" b="1" dirty="0">
                <a:solidFill>
                  <a:srgbClr val="FFFF00"/>
                </a:solidFill>
              </a:rPr>
              <a:t>统计数据</a:t>
            </a:r>
            <a:r>
              <a:rPr lang="zh-CN" altLang="en-US" sz="2000" b="1" dirty="0">
                <a:solidFill>
                  <a:schemeClr val="tx1"/>
                </a:solidFill>
              </a:rPr>
              <a:t>、</a:t>
            </a:r>
            <a:r>
              <a:rPr lang="zh-CN" altLang="en-US" sz="2000" b="1" dirty="0">
                <a:solidFill>
                  <a:srgbClr val="FFFF00"/>
                </a:solidFill>
              </a:rPr>
              <a:t>数字与图表</a:t>
            </a:r>
            <a:r>
              <a:rPr lang="zh-CN" altLang="en-US" sz="2000" b="1" dirty="0">
                <a:solidFill>
                  <a:schemeClr val="tx1"/>
                </a:solidFill>
              </a:rPr>
              <a:t>等，也包含了在期刊文章或其他地方难以找到的</a:t>
            </a:r>
            <a:r>
              <a:rPr lang="zh-CN" altLang="en-US" sz="2000" b="1" dirty="0">
                <a:solidFill>
                  <a:srgbClr val="FFFF00"/>
                </a:solidFill>
              </a:rPr>
              <a:t>负面结果</a:t>
            </a:r>
            <a:r>
              <a:rPr lang="zh-CN" altLang="en-US" sz="2000" b="1" dirty="0">
                <a:solidFill>
                  <a:schemeClr val="tx1"/>
                </a:solidFill>
              </a:rPr>
              <a:t>（</a:t>
            </a:r>
            <a:r>
              <a:rPr lang="en-US" altLang="zh-CN" sz="2000" b="1" dirty="0">
                <a:solidFill>
                  <a:srgbClr val="FFFF00"/>
                </a:solidFill>
              </a:rPr>
              <a:t>negative results</a:t>
            </a:r>
            <a:r>
              <a:rPr lang="zh-CN" altLang="en-US" sz="2000" b="1" dirty="0">
                <a:solidFill>
                  <a:schemeClr val="tx1"/>
                </a:solidFill>
              </a:rPr>
              <a:t>）</a:t>
            </a:r>
            <a:endParaRPr lang="zh-CN" altLang="en-US" sz="2000" b="1" dirty="0">
              <a:solidFill>
                <a:schemeClr val="tx1"/>
              </a:solidFill>
            </a:endParaRPr>
          </a:p>
          <a:p>
            <a:endParaRPr lang="zh-CN" altLang="en-US" sz="1800" b="1" dirty="0">
              <a:solidFill>
                <a:schemeClr val="tx1"/>
              </a:solidFill>
            </a:endParaRPr>
          </a:p>
        </p:txBody>
      </p:sp>
      <p:sp>
        <p:nvSpPr>
          <p:cNvPr id="22" name="标题 21"/>
          <p:cNvSpPr>
            <a:spLocks noGrp="1"/>
          </p:cNvSpPr>
          <p:nvPr>
            <p:ph type="title"/>
            <p:custDataLst>
              <p:tags r:id="rId7"/>
            </p:custDataLst>
          </p:nvPr>
        </p:nvSpPr>
        <p:spPr/>
        <p:txBody>
          <a:bodyPr vert="horz" wrap="square" lIns="0" tIns="0" rIns="0" bIns="0" rtlCol="0" anchor="b">
            <a:normAutofit/>
          </a:bodyPr>
          <a:lstStyle/>
          <a:p>
            <a:pPr lvl="0" algn="l">
              <a:buClrTx/>
              <a:buSzTx/>
              <a:buFontTx/>
            </a:pPr>
            <a:r>
              <a:rPr lang="zh-CN" altLang="en-US" sz="3200" dirty="0">
                <a:sym typeface="+mn-ea"/>
              </a:rPr>
              <a:t>学位论文的学术价值</a:t>
            </a:r>
            <a:endParaRPr lang="zh-CN" altLang="en-US" sz="3200" dirty="0">
              <a:sym typeface="+mn-ea"/>
            </a:endParaRPr>
          </a:p>
        </p:txBody>
      </p:sp>
      <p:pic>
        <p:nvPicPr>
          <p:cNvPr id="3" name="图片 2" descr="在实验室的两位女工程师"/>
          <p:cNvPicPr>
            <a:picLocks noChangeAspect="1"/>
          </p:cNvPicPr>
          <p:nvPr/>
        </p:nvPicPr>
        <p:blipFill>
          <a:blip r:embed="rId8">
            <a:extLst>
              <a:ext uri="{28A0092B-C50C-407E-A947-70E740481C1C}">
                <a14:useLocalDpi xmlns:a14="http://schemas.microsoft.com/office/drawing/2010/main" val="0"/>
              </a:ext>
            </a:extLst>
          </a:blip>
          <a:srcRect l="10331" r="26350"/>
          <a:stretch>
            <a:fillRect/>
          </a:stretch>
        </p:blipFill>
        <p:spPr>
          <a:xfrm>
            <a:off x="3770240" y="2375855"/>
            <a:ext cx="5373760" cy="3421219"/>
          </a:xfrm>
          <a:prstGeom prst="rect">
            <a:avLst/>
          </a:prstGeom>
        </p:spPr>
      </p:pic>
    </p:spTree>
    <p:custDataLst>
      <p:tags r:id="rId9"/>
    </p:custData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107" name="直接箭头连接符 5"/>
          <p:cNvCxnSpPr>
            <a:cxnSpLocks noChangeShapeType="1"/>
          </p:cNvCxnSpPr>
          <p:nvPr>
            <p:custDataLst>
              <p:tags r:id="rId1"/>
            </p:custDataLst>
          </p:nvPr>
        </p:nvCxnSpPr>
        <p:spPr bwMode="auto">
          <a:xfrm rot="5400000" flipH="1" flipV="1">
            <a:off x="7072313" y="4643438"/>
            <a:ext cx="285750" cy="285750"/>
          </a:xfrm>
          <a:prstGeom prst="straightConnector1">
            <a:avLst/>
          </a:prstGeom>
          <a:noFill/>
          <a:ln w="9525" algn="ctr">
            <a:solidFill>
              <a:schemeClr val="accent1"/>
            </a:solidFill>
            <a:round/>
            <a:tailEnd type="arrow" w="med" len="med"/>
          </a:ln>
          <a:extLst>
            <a:ext uri="{909E8E84-426E-40DD-AFC4-6F175D3DCCD1}">
              <a14:hiddenFill xmlns:a14="http://schemas.microsoft.com/office/drawing/2010/main">
                <a:noFill/>
              </a14:hiddenFill>
            </a:ext>
          </a:extLst>
        </p:spPr>
      </p:cxnSp>
      <p:sp>
        <p:nvSpPr>
          <p:cNvPr id="47108" name="TextBox 6"/>
          <p:cNvSpPr txBox="1">
            <a:spLocks noChangeArrowheads="1"/>
          </p:cNvSpPr>
          <p:nvPr>
            <p:custDataLst>
              <p:tags r:id="rId2"/>
            </p:custDataLst>
          </p:nvPr>
        </p:nvSpPr>
        <p:spPr bwMode="auto">
          <a:xfrm>
            <a:off x="5143500" y="5000625"/>
            <a:ext cx="33832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chemeClr val="tx1"/>
                </a:solidFill>
                <a:latin typeface="+mn-lt"/>
              </a:rPr>
              <a:t>如注册后需完善数据可进行编辑</a:t>
            </a:r>
            <a:endParaRPr lang="zh-CN" altLang="en-US">
              <a:solidFill>
                <a:schemeClr val="tx1"/>
              </a:solidFill>
              <a:latin typeface="+mn-lt"/>
            </a:endParaRPr>
          </a:p>
        </p:txBody>
      </p:sp>
      <p:pic>
        <p:nvPicPr>
          <p:cNvPr id="2" name="图片 1" descr="QQ截图20230515121921"/>
          <p:cNvPicPr>
            <a:picLocks noChangeAspect="1"/>
          </p:cNvPicPr>
          <p:nvPr>
            <p:custDataLst>
              <p:tags r:id="rId3"/>
            </p:custDataLst>
          </p:nvPr>
        </p:nvPicPr>
        <p:blipFill>
          <a:blip r:embed="rId4"/>
          <a:stretch>
            <a:fillRect/>
          </a:stretch>
        </p:blipFill>
        <p:spPr>
          <a:xfrm>
            <a:off x="0" y="1088390"/>
            <a:ext cx="9144000" cy="5789930"/>
          </a:xfrm>
          <a:prstGeom prst="rect">
            <a:avLst/>
          </a:prstGeom>
        </p:spPr>
      </p:pic>
      <p:sp>
        <p:nvSpPr>
          <p:cNvPr id="6" name="标题 5"/>
          <p:cNvSpPr>
            <a:spLocks noGrp="1"/>
          </p:cNvSpPr>
          <p:nvPr>
            <p:ph type="title"/>
            <p:custDataLst>
              <p:tags r:id="rId5"/>
            </p:custDataLst>
          </p:nvPr>
        </p:nvSpPr>
        <p:spPr/>
        <p:txBody>
          <a:bodyPr vert="horz" wrap="square" lIns="0" tIns="0" rIns="0" bIns="0" rtlCol="0" anchor="b">
            <a:normAutofit fontScale="90000"/>
          </a:bodyPr>
          <a:lstStyle/>
          <a:p>
            <a:pPr lvl="0" algn="l">
              <a:buClrTx/>
              <a:buSzTx/>
              <a:buFontTx/>
            </a:pPr>
            <a:r>
              <a:rPr lang="zh-CN" altLang="en-US" dirty="0">
                <a:sym typeface="+mn-ea"/>
              </a:rPr>
              <a:t>
</a:t>
            </a:r>
            <a:r>
              <a:rPr lang="zh-CN" altLang="en-US" sz="3600" dirty="0">
                <a:sym typeface="+mn-ea"/>
              </a:rPr>
              <a:t>PQDT 平台个性化账号界面</a:t>
            </a:r>
            <a:endParaRPr lang="zh-CN" altLang="en-US" dirty="0">
              <a:sym typeface="+mn-ea"/>
            </a:endParaRPr>
          </a:p>
        </p:txBody>
      </p:sp>
    </p:spTree>
    <p:custDataLst>
      <p:tags r:id="rId6"/>
    </p:custData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图片 1"/>
          <p:cNvPicPr>
            <a:picLocks noChangeAspect="1"/>
          </p:cNvPicPr>
          <p:nvPr>
            <p:custDataLst>
              <p:tags r:id="rId1"/>
            </p:custDataLst>
          </p:nvPr>
        </p:nvPicPr>
        <p:blipFill>
          <a:blip r:embed="rId2"/>
          <a:stretch>
            <a:fillRect/>
          </a:stretch>
        </p:blipFill>
        <p:spPr>
          <a:xfrm>
            <a:off x="0" y="1196485"/>
            <a:ext cx="9144000" cy="5643562"/>
          </a:xfrm>
          <a:prstGeom prst="rect">
            <a:avLst/>
          </a:prstGeom>
          <a:noFill/>
          <a:ln w="9525">
            <a:noFill/>
          </a:ln>
        </p:spPr>
      </p:pic>
      <p:cxnSp>
        <p:nvCxnSpPr>
          <p:cNvPr id="30725" name="直接箭头连接符 8"/>
          <p:cNvCxnSpPr>
            <a:stCxn id="30726" idx="2"/>
          </p:cNvCxnSpPr>
          <p:nvPr>
            <p:custDataLst>
              <p:tags r:id="rId3"/>
            </p:custDataLst>
          </p:nvPr>
        </p:nvCxnSpPr>
        <p:spPr>
          <a:xfrm flipH="1">
            <a:off x="7182326" y="2068989"/>
            <a:ext cx="386080" cy="267970"/>
          </a:xfrm>
          <a:prstGeom prst="straightConnector1">
            <a:avLst/>
          </a:prstGeom>
          <a:ln w="9525" cap="flat" cmpd="sng">
            <a:solidFill>
              <a:srgbClr val="FF180D"/>
            </a:solidFill>
            <a:prstDash val="solid"/>
            <a:headEnd type="none" w="med" len="med"/>
            <a:tailEnd type="arrow" w="med" len="med"/>
          </a:ln>
        </p:spPr>
      </p:cxnSp>
      <p:sp>
        <p:nvSpPr>
          <p:cNvPr id="30726" name="TextBox 9"/>
          <p:cNvSpPr txBox="1"/>
          <p:nvPr>
            <p:custDataLst>
              <p:tags r:id="rId4"/>
            </p:custDataLst>
          </p:nvPr>
        </p:nvSpPr>
        <p:spPr>
          <a:xfrm>
            <a:off x="7019925" y="1700213"/>
            <a:ext cx="1097280" cy="368300"/>
          </a:xfrm>
          <a:prstGeom prst="rect">
            <a:avLst/>
          </a:prstGeom>
          <a:noFill/>
          <a:ln w="9525">
            <a:noFill/>
          </a:ln>
        </p:spPr>
        <p:txBody>
          <a:bodyPr wrap="square">
            <a:normAutofit fontScale="97500"/>
          </a:bodyPr>
          <a:lstStyle/>
          <a:p>
            <a:r>
              <a:rPr lang="zh-CN" altLang="en-US" dirty="0">
                <a:solidFill>
                  <a:srgbClr val="FF0000"/>
                </a:solidFill>
                <a:latin typeface="+mn-lt"/>
              </a:rPr>
              <a:t>批量导出</a:t>
            </a:r>
            <a:endParaRPr lang="zh-CN" altLang="en-US" dirty="0">
              <a:solidFill>
                <a:srgbClr val="FF0000"/>
              </a:solidFill>
              <a:latin typeface="+mn-lt"/>
            </a:endParaRPr>
          </a:p>
        </p:txBody>
      </p:sp>
      <p:cxnSp>
        <p:nvCxnSpPr>
          <p:cNvPr id="2" name="直接箭头连接符 8"/>
          <p:cNvCxnSpPr>
            <a:stCxn id="30726" idx="2"/>
          </p:cNvCxnSpPr>
          <p:nvPr>
            <p:custDataLst>
              <p:tags r:id="rId5"/>
            </p:custDataLst>
          </p:nvPr>
        </p:nvCxnSpPr>
        <p:spPr>
          <a:xfrm>
            <a:off x="7568406" y="2068989"/>
            <a:ext cx="27940" cy="280035"/>
          </a:xfrm>
          <a:prstGeom prst="straightConnector1">
            <a:avLst/>
          </a:prstGeom>
          <a:ln w="9525" cap="flat" cmpd="sng">
            <a:solidFill>
              <a:srgbClr val="FF180D"/>
            </a:solidFill>
            <a:prstDash val="solid"/>
            <a:headEnd type="none" w="med" len="med"/>
            <a:tailEnd type="arrow" w="med" len="med"/>
          </a:ln>
        </p:spPr>
      </p:cxnSp>
      <p:cxnSp>
        <p:nvCxnSpPr>
          <p:cNvPr id="3" name="直接箭头连接符 8"/>
          <p:cNvCxnSpPr>
            <a:stCxn id="30726" idx="2"/>
          </p:cNvCxnSpPr>
          <p:nvPr>
            <p:custDataLst>
              <p:tags r:id="rId6"/>
            </p:custDataLst>
          </p:nvPr>
        </p:nvCxnSpPr>
        <p:spPr>
          <a:xfrm>
            <a:off x="7568406" y="2068989"/>
            <a:ext cx="459740" cy="280035"/>
          </a:xfrm>
          <a:prstGeom prst="straightConnector1">
            <a:avLst/>
          </a:prstGeom>
          <a:ln w="9525" cap="flat" cmpd="sng">
            <a:solidFill>
              <a:srgbClr val="FF180D"/>
            </a:solidFill>
            <a:prstDash val="solid"/>
            <a:headEnd type="none" w="med" len="med"/>
            <a:tailEnd type="arrow" w="med" len="med"/>
          </a:ln>
        </p:spPr>
      </p:cxnSp>
      <p:sp>
        <p:nvSpPr>
          <p:cNvPr id="4" name="TextBox 9"/>
          <p:cNvSpPr txBox="1"/>
          <p:nvPr>
            <p:custDataLst>
              <p:tags r:id="rId7"/>
            </p:custDataLst>
          </p:nvPr>
        </p:nvSpPr>
        <p:spPr>
          <a:xfrm>
            <a:off x="3511550" y="2336800"/>
            <a:ext cx="2500630" cy="368300"/>
          </a:xfrm>
          <a:prstGeom prst="rect">
            <a:avLst/>
          </a:prstGeom>
          <a:noFill/>
          <a:ln w="9525">
            <a:noFill/>
          </a:ln>
        </p:spPr>
        <p:txBody>
          <a:bodyPr wrap="square">
            <a:normAutofit fontScale="97500"/>
          </a:bodyPr>
          <a:lstStyle/>
          <a:p>
            <a:r>
              <a:rPr lang="zh-CN" altLang="en-US" dirty="0">
                <a:solidFill>
                  <a:srgbClr val="FF0000"/>
                </a:solidFill>
                <a:latin typeface="+mn-lt"/>
              </a:rPr>
              <a:t>学科订阅、关键词推送</a:t>
            </a:r>
            <a:endParaRPr lang="zh-CN" altLang="en-US" dirty="0">
              <a:solidFill>
                <a:srgbClr val="FF0000"/>
              </a:solidFill>
              <a:latin typeface="+mn-lt"/>
            </a:endParaRPr>
          </a:p>
        </p:txBody>
      </p:sp>
      <p:cxnSp>
        <p:nvCxnSpPr>
          <p:cNvPr id="5" name="直接箭头连接符 8"/>
          <p:cNvCxnSpPr/>
          <p:nvPr>
            <p:custDataLst>
              <p:tags r:id="rId8"/>
            </p:custDataLst>
          </p:nvPr>
        </p:nvCxnSpPr>
        <p:spPr>
          <a:xfrm flipV="1">
            <a:off x="6012021" y="2276634"/>
            <a:ext cx="287655" cy="72390"/>
          </a:xfrm>
          <a:prstGeom prst="straightConnector1">
            <a:avLst/>
          </a:prstGeom>
          <a:ln w="9525" cap="flat" cmpd="sng">
            <a:solidFill>
              <a:srgbClr val="FF180D"/>
            </a:solidFill>
            <a:prstDash val="solid"/>
            <a:headEnd type="none" w="med" len="med"/>
            <a:tailEnd type="arrow" w="med" len="med"/>
          </a:ln>
        </p:spPr>
      </p:cxnSp>
      <p:pic>
        <p:nvPicPr>
          <p:cNvPr id="6" name="图片 5"/>
          <p:cNvPicPr>
            <a:picLocks noChangeAspect="1"/>
          </p:cNvPicPr>
          <p:nvPr>
            <p:custDataLst>
              <p:tags r:id="rId9"/>
            </p:custDataLst>
          </p:nvPr>
        </p:nvPicPr>
        <p:blipFill>
          <a:blip r:embed="rId10"/>
          <a:stretch>
            <a:fillRect/>
          </a:stretch>
        </p:blipFill>
        <p:spPr>
          <a:xfrm>
            <a:off x="179512" y="2632613"/>
            <a:ext cx="4997149" cy="1948515"/>
          </a:xfrm>
          <a:prstGeom prst="rect">
            <a:avLst/>
          </a:prstGeom>
        </p:spPr>
      </p:pic>
      <p:pic>
        <p:nvPicPr>
          <p:cNvPr id="7" name="图片 6"/>
          <p:cNvPicPr>
            <a:picLocks noChangeAspect="1"/>
          </p:cNvPicPr>
          <p:nvPr>
            <p:custDataLst>
              <p:tags r:id="rId11"/>
            </p:custDataLst>
          </p:nvPr>
        </p:nvPicPr>
        <p:blipFill>
          <a:blip r:embed="rId12"/>
          <a:stretch>
            <a:fillRect/>
          </a:stretch>
        </p:blipFill>
        <p:spPr>
          <a:xfrm>
            <a:off x="2408555" y="3978275"/>
            <a:ext cx="6735170" cy="2880000"/>
          </a:xfrm>
          <a:prstGeom prst="rect">
            <a:avLst/>
          </a:prstGeom>
        </p:spPr>
      </p:pic>
      <p:sp>
        <p:nvSpPr>
          <p:cNvPr id="11" name="标题 10"/>
          <p:cNvSpPr>
            <a:spLocks noGrp="1"/>
          </p:cNvSpPr>
          <p:nvPr>
            <p:ph type="title"/>
            <p:custDataLst>
              <p:tags r:id="rId13"/>
            </p:custDataLst>
          </p:nvPr>
        </p:nvSpPr>
        <p:spPr/>
        <p:txBody>
          <a:bodyPr vert="horz" wrap="square" lIns="0" tIns="0" rIns="0" bIns="0" rtlCol="0" anchor="b">
            <a:noAutofit/>
          </a:bodyPr>
          <a:lstStyle/>
          <a:p>
            <a:pPr lvl="0" algn="l">
              <a:buClrTx/>
              <a:buSzTx/>
              <a:buFontTx/>
            </a:pPr>
            <a:r>
              <a:rPr lang="zh-CN" altLang="en-US" sz="3200" dirty="0">
                <a:sym typeface="+mn-ea"/>
              </a:rPr>
              <a:t>
PQDT 平台检索结果页面</a:t>
            </a:r>
            <a:endParaRPr lang="zh-CN" altLang="en-US" sz="3200" dirty="0">
              <a:sym typeface="+mn-ea"/>
            </a:endParaRPr>
          </a:p>
        </p:txBody>
      </p:sp>
    </p:spTree>
    <p:custDataLst>
      <p:tags r:id="rId14"/>
    </p:custData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7" descr="C:\Users\user\Desktop\西安外国语大学PQDT\QQ截图20230515121505.jpgQQ截图20230515121505"/>
          <p:cNvPicPr>
            <a:picLocks noChangeAspect="1" noChangeArrowheads="1"/>
          </p:cNvPicPr>
          <p:nvPr>
            <p:custDataLst>
              <p:tags r:id="rId1"/>
            </p:custDataLst>
          </p:nvPr>
        </p:nvPicPr>
        <p:blipFill rotWithShape="1">
          <a:blip r:embed="rId2"/>
          <a:srcRect/>
          <a:stretch>
            <a:fillRect/>
          </a:stretch>
        </p:blipFill>
        <p:spPr bwMode="auto">
          <a:xfrm>
            <a:off x="6598" y="1124744"/>
            <a:ext cx="9137402" cy="573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7107" name="直接箭头连接符 5"/>
          <p:cNvCxnSpPr>
            <a:cxnSpLocks noChangeShapeType="1"/>
          </p:cNvCxnSpPr>
          <p:nvPr>
            <p:custDataLst>
              <p:tags r:id="rId3"/>
            </p:custDataLst>
          </p:nvPr>
        </p:nvCxnSpPr>
        <p:spPr bwMode="auto">
          <a:xfrm flipH="1">
            <a:off x="3563620" y="1987039"/>
            <a:ext cx="879475" cy="360045"/>
          </a:xfrm>
          <a:prstGeom prst="straightConnector1">
            <a:avLst/>
          </a:prstGeom>
          <a:ln>
            <a:tailEnd type="arrow" w="med" len="med"/>
          </a:ln>
          <a:extLst>
            <a:ext uri="{909E8E84-426E-40DD-AFC4-6F175D3DCCD1}">
              <a14:hiddenFill xmlns:a14="http://schemas.microsoft.com/office/drawing/2010/main">
                <a:noFill/>
              </a14:hiddenFill>
            </a:ext>
          </a:extLst>
        </p:spPr>
        <p:style>
          <a:lnRef idx="3">
            <a:schemeClr val="accent5"/>
          </a:lnRef>
          <a:fillRef idx="0">
            <a:schemeClr val="accent5"/>
          </a:fillRef>
          <a:effectRef idx="2">
            <a:schemeClr val="accent5"/>
          </a:effectRef>
          <a:fontRef idx="minor">
            <a:schemeClr val="tx1"/>
          </a:fontRef>
        </p:style>
      </p:cxnSp>
      <p:sp>
        <p:nvSpPr>
          <p:cNvPr id="47108" name="TextBox 6"/>
          <p:cNvSpPr txBox="1">
            <a:spLocks noChangeArrowheads="1"/>
          </p:cNvSpPr>
          <p:nvPr>
            <p:custDataLst>
              <p:tags r:id="rId4"/>
            </p:custDataLst>
          </p:nvPr>
        </p:nvSpPr>
        <p:spPr bwMode="auto">
          <a:xfrm>
            <a:off x="4443095" y="1844040"/>
            <a:ext cx="13258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dirty="0">
                <a:solidFill>
                  <a:srgbClr val="FF0000"/>
                </a:solidFill>
                <a:latin typeface="+mn-lt"/>
              </a:rPr>
              <a:t>可导出清单</a:t>
            </a:r>
            <a:endParaRPr lang="zh-CN" altLang="en-US" dirty="0">
              <a:solidFill>
                <a:srgbClr val="FF0000"/>
              </a:solidFill>
              <a:latin typeface="+mn-lt"/>
            </a:endParaRPr>
          </a:p>
        </p:txBody>
      </p:sp>
      <p:sp>
        <p:nvSpPr>
          <p:cNvPr id="5" name="标题 4"/>
          <p:cNvSpPr>
            <a:spLocks noGrp="1"/>
          </p:cNvSpPr>
          <p:nvPr>
            <p:ph type="title"/>
            <p:custDataLst>
              <p:tags r:id="rId5"/>
            </p:custDataLst>
          </p:nvPr>
        </p:nvSpPr>
        <p:spPr/>
        <p:txBody>
          <a:bodyPr vert="horz" wrap="square" lIns="0" tIns="0" rIns="0" bIns="0" rtlCol="0" anchor="b">
            <a:noAutofit/>
          </a:bodyPr>
          <a:lstStyle/>
          <a:p>
            <a:r>
              <a:rPr lang="zh-CN" altLang="en-US" sz="3200" dirty="0">
                <a:sym typeface="+mn-ea"/>
              </a:rPr>
              <a:t>
PQDT平台个性化账号界面</a:t>
            </a:r>
            <a:endParaRPr lang="zh-CN" altLang="en-US" sz="3200" dirty="0">
              <a:sym typeface="+mn-ea"/>
            </a:endParaRPr>
          </a:p>
        </p:txBody>
      </p:sp>
    </p:spTree>
    <p:custDataLst>
      <p:tags r:id="rId6"/>
    </p:custData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p:cNvPicPr>
            <a:picLocks noChangeAspect="1" noChangeArrowheads="1"/>
          </p:cNvPicPr>
          <p:nvPr>
            <p:custDataLst>
              <p:tags r:id="rId1"/>
            </p:custDataLst>
          </p:nvPr>
        </p:nvPicPr>
        <p:blipFill>
          <a:blip r:embed="rId2">
            <a:extLst>
              <a:ext uri="{28A0092B-C50C-407E-A947-70E740481C1C}">
                <a14:useLocalDpi xmlns:a14="http://schemas.microsoft.com/office/drawing/2010/main" val="0"/>
              </a:ext>
            </a:extLst>
          </a:blip>
          <a:srcRect/>
          <a:stretch>
            <a:fillRect/>
          </a:stretch>
        </p:blipFill>
        <p:spPr bwMode="auto">
          <a:xfrm>
            <a:off x="0" y="1285875"/>
            <a:ext cx="9144000" cy="557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131" name="直接箭头连接符 5"/>
          <p:cNvCxnSpPr>
            <a:cxnSpLocks noChangeShapeType="1"/>
          </p:cNvCxnSpPr>
          <p:nvPr>
            <p:custDataLst>
              <p:tags r:id="rId3"/>
            </p:custDataLst>
          </p:nvPr>
        </p:nvCxnSpPr>
        <p:spPr bwMode="auto">
          <a:xfrm rot="10800000">
            <a:off x="1928813" y="6143625"/>
            <a:ext cx="428625" cy="1588"/>
          </a:xfrm>
          <a:prstGeom prst="straightConnector1">
            <a:avLst/>
          </a:prstGeom>
          <a:noFill/>
          <a:ln w="9525" algn="ctr">
            <a:solidFill>
              <a:srgbClr val="FF180D"/>
            </a:solidFill>
            <a:round/>
            <a:tailEnd type="arrow" w="med" len="med"/>
          </a:ln>
          <a:extLst>
            <a:ext uri="{909E8E84-426E-40DD-AFC4-6F175D3DCCD1}">
              <a14:hiddenFill xmlns:a14="http://schemas.microsoft.com/office/drawing/2010/main">
                <a:noFill/>
              </a14:hiddenFill>
            </a:ext>
          </a:extLst>
        </p:spPr>
      </p:cxnSp>
      <p:sp>
        <p:nvSpPr>
          <p:cNvPr id="48132" name="TextBox 6"/>
          <p:cNvSpPr txBox="1">
            <a:spLocks noChangeArrowheads="1"/>
          </p:cNvSpPr>
          <p:nvPr>
            <p:custDataLst>
              <p:tags r:id="rId4"/>
            </p:custDataLst>
          </p:nvPr>
        </p:nvSpPr>
        <p:spPr bwMode="auto">
          <a:xfrm>
            <a:off x="2357438" y="5929313"/>
            <a:ext cx="384048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zh-CN" altLang="en-US">
                <a:solidFill>
                  <a:srgbClr val="FF0000"/>
                </a:solidFill>
                <a:latin typeface="+mn-lt"/>
              </a:rPr>
              <a:t>读者可跟踪自己荐购论文的订购进展</a:t>
            </a:r>
            <a:endParaRPr lang="zh-CN" altLang="en-US">
              <a:solidFill>
                <a:srgbClr val="FF0000"/>
              </a:solidFill>
              <a:latin typeface="+mn-lt"/>
            </a:endParaRPr>
          </a:p>
        </p:txBody>
      </p:sp>
      <p:sp>
        <p:nvSpPr>
          <p:cNvPr id="5" name="标题 4"/>
          <p:cNvSpPr>
            <a:spLocks noGrp="1"/>
          </p:cNvSpPr>
          <p:nvPr>
            <p:ph type="title"/>
            <p:custDataLst>
              <p:tags r:id="rId5"/>
            </p:custDataLst>
          </p:nvPr>
        </p:nvSpPr>
        <p:spPr/>
        <p:txBody>
          <a:bodyPr vert="horz" wrap="square" lIns="0" tIns="0" rIns="0" bIns="0" rtlCol="0" anchor="b">
            <a:noAutofit/>
          </a:bodyPr>
          <a:lstStyle/>
          <a:p>
            <a:pPr lvl="0" algn="l">
              <a:buClrTx/>
              <a:buSzTx/>
              <a:buFontTx/>
            </a:pPr>
            <a:r>
              <a:rPr lang="zh-CN" altLang="en-US" sz="3200" dirty="0">
                <a:sym typeface="+mn-ea"/>
              </a:rPr>
              <a:t>
PQDT平台个性化荐购跟踪</a:t>
            </a:r>
            <a:endParaRPr lang="zh-CN" altLang="en-US" sz="3200" dirty="0">
              <a:sym typeface="+mn-ea"/>
            </a:endParaRPr>
          </a:p>
        </p:txBody>
      </p:sp>
    </p:spTree>
    <p:custDataLst>
      <p:tags r:id="rId6"/>
    </p:custData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custDataLst>
              <p:tags r:id="rId1"/>
            </p:custDataLst>
          </p:nvPr>
        </p:nvSpPr>
        <p:spPr/>
        <p:txBody>
          <a:bodyPr wrap="square">
            <a:normAutofit/>
          </a:bodyPr>
          <a:lstStyle/>
          <a:p>
            <a:r>
              <a:rPr lang="zh-CN" altLang="en-US" sz="6000" dirty="0">
                <a:solidFill>
                  <a:schemeClr val="tx1"/>
                </a:solidFill>
                <a:effectLst>
                  <a:outerShdw blurRad="38100" dist="19050" dir="2700000" algn="tl" rotWithShape="0">
                    <a:schemeClr val="dk1">
                      <a:alpha val="40000"/>
                    </a:schemeClr>
                  </a:outerShdw>
                </a:effectLst>
              </a:rPr>
              <a:t>Thank You !</a:t>
            </a:r>
            <a:endParaRPr lang="zh-CN" altLang="en-US" sz="6000" dirty="0">
              <a:solidFill>
                <a:schemeClr val="tx1"/>
              </a:solidFill>
              <a:effectLst>
                <a:outerShdw blurRad="38100" dist="19050" dir="2700000" algn="tl" rotWithShape="0">
                  <a:schemeClr val="dk1">
                    <a:alpha val="40000"/>
                  </a:schemeClr>
                </a:outerShdw>
              </a:effectLst>
            </a:endParaRPr>
          </a:p>
        </p:txBody>
      </p:sp>
      <p:sp>
        <p:nvSpPr>
          <p:cNvPr id="8" name="文本占位符 7"/>
          <p:cNvSpPr>
            <a:spLocks noGrp="1"/>
          </p:cNvSpPr>
          <p:nvPr>
            <p:ph type="body" sz="quarter" idx="17"/>
            <p:custDataLst>
              <p:tags r:id="rId2"/>
            </p:custDataLst>
          </p:nvPr>
        </p:nvSpPr>
        <p:spPr>
          <a:xfrm>
            <a:off x="1619885" y="4293235"/>
            <a:ext cx="5731510" cy="986155"/>
          </a:xfrm>
        </p:spPr>
        <p:txBody>
          <a:bodyPr wrap="square">
            <a:normAutofit/>
          </a:bodyPr>
          <a:lstStyle/>
          <a:p>
            <a:r>
              <a:rPr lang="zh-CN" altLang="en-US" sz="2400" b="1" dirty="0"/>
              <a:t>Email: hanchy@bjzhongke.com.cn</a:t>
            </a:r>
            <a:endParaRPr lang="zh-CN" altLang="en-US" sz="2400" b="1" dirty="0"/>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rcRect l="3538" t="20481" r="4327" b="20481"/>
          <a:stretch>
            <a:fillRect/>
          </a:stretch>
        </p:blipFill>
        <p:spPr>
          <a:xfrm>
            <a:off x="6084168" y="6215359"/>
            <a:ext cx="2808312" cy="432048"/>
          </a:xfrm>
          <a:prstGeom prst="rect">
            <a:avLst/>
          </a:prstGeom>
        </p:spPr>
      </p:pic>
    </p:spTree>
    <p:custDataLst>
      <p:tags r:id="rId4"/>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Object 5"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24" name="Slide Number Placeholder 3"/>
          <p:cNvSpPr>
            <a:spLocks noGrp="1"/>
          </p:cNvSpPr>
          <p:nvPr>
            <p:custDataLst>
              <p:tags r:id="rId4"/>
            </p:custDataLst>
          </p:nvPr>
        </p:nvSpPr>
        <p:spPr>
          <a:xfrm>
            <a:off x="8629650" y="6348353"/>
            <a:ext cx="162000" cy="215900"/>
          </a:xfr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4159E-D75D-1D4C-AB47-8DAEB39BDE1C}" type="slidenum">
              <a:rPr lang="en-US" sz="100" smtClean="0">
                <a:solidFill>
                  <a:schemeClr val="tx1"/>
                </a:solidFill>
              </a:rPr>
            </a:fld>
            <a:endParaRPr lang="en-US" sz="100">
              <a:solidFill>
                <a:schemeClr val="tx1"/>
              </a:solidFill>
            </a:endParaRPr>
          </a:p>
        </p:txBody>
      </p:sp>
      <p:sp>
        <p:nvSpPr>
          <p:cNvPr id="7" name="Title 1"/>
          <p:cNvSpPr>
            <a:spLocks noGrp="1"/>
          </p:cNvSpPr>
          <p:nvPr>
            <p:custDataLst>
              <p:tags r:id="rId5"/>
            </p:custDataLst>
          </p:nvPr>
        </p:nvSpPr>
        <p:spPr>
          <a:xfrm>
            <a:off x="521970" y="1520901"/>
            <a:ext cx="3384376" cy="431185"/>
          </a:xfrm>
        </p:spPr>
        <p:txBody>
          <a:bodyPr vert="horz" wrap="square" lIns="0" tIns="34290" rIns="68580" bIns="34290" rtlCol="0" anchor="t">
            <a:normAutofit lnSpcReduction="10000"/>
          </a:bodyPr>
          <a:lstStyle>
            <a:lvl1pPr algn="r" rtl="0" eaLnBrk="0" fontAlgn="base" hangingPunct="0">
              <a:spcBef>
                <a:spcPct val="0"/>
              </a:spcBef>
              <a:spcAft>
                <a:spcPct val="0"/>
              </a:spcAft>
              <a:defRPr sz="3200">
                <a:solidFill>
                  <a:schemeClr val="accent1"/>
                </a:solidFill>
                <a:latin typeface="+mj-lt"/>
                <a:ea typeface="+mj-ea"/>
                <a:cs typeface="+mj-cs"/>
              </a:defRPr>
            </a:lvl1pPr>
            <a:lvl2pPr algn="r" rtl="0" eaLnBrk="0" fontAlgn="base" hangingPunct="0">
              <a:spcBef>
                <a:spcPct val="0"/>
              </a:spcBef>
              <a:spcAft>
                <a:spcPct val="0"/>
              </a:spcAft>
              <a:defRPr sz="3200">
                <a:solidFill>
                  <a:schemeClr val="bg1"/>
                </a:solidFill>
                <a:latin typeface="Verdana" panose="020B0604030504040204" pitchFamily="34" charset="0"/>
              </a:defRPr>
            </a:lvl2pPr>
            <a:lvl3pPr algn="r" rtl="0" eaLnBrk="0" fontAlgn="base" hangingPunct="0">
              <a:spcBef>
                <a:spcPct val="0"/>
              </a:spcBef>
              <a:spcAft>
                <a:spcPct val="0"/>
              </a:spcAft>
              <a:defRPr sz="3200">
                <a:solidFill>
                  <a:schemeClr val="bg1"/>
                </a:solidFill>
                <a:latin typeface="Verdana" panose="020B0604030504040204" pitchFamily="34" charset="0"/>
              </a:defRPr>
            </a:lvl3pPr>
            <a:lvl4pPr algn="r" rtl="0" eaLnBrk="0" fontAlgn="base" hangingPunct="0">
              <a:spcBef>
                <a:spcPct val="0"/>
              </a:spcBef>
              <a:spcAft>
                <a:spcPct val="0"/>
              </a:spcAft>
              <a:defRPr sz="3200">
                <a:solidFill>
                  <a:schemeClr val="bg1"/>
                </a:solidFill>
                <a:latin typeface="Verdana" panose="020B0604030504040204" pitchFamily="34" charset="0"/>
              </a:defRPr>
            </a:lvl4pPr>
            <a:lvl5pPr algn="r" rtl="0" eaLnBrk="0" fontAlgn="base" hangingPunct="0">
              <a:spcBef>
                <a:spcPct val="0"/>
              </a:spcBef>
              <a:spcAft>
                <a:spcPct val="0"/>
              </a:spcAft>
              <a:defRPr sz="3200">
                <a:solidFill>
                  <a:schemeClr val="bg1"/>
                </a:solidFill>
                <a:latin typeface="Verdana" panose="020B0604030504040204" pitchFamily="34" charset="0"/>
              </a:defRPr>
            </a:lvl5pPr>
            <a:lvl6pPr marL="457200" algn="r" rtl="0" fontAlgn="base">
              <a:spcBef>
                <a:spcPct val="0"/>
              </a:spcBef>
              <a:spcAft>
                <a:spcPct val="0"/>
              </a:spcAft>
              <a:defRPr sz="3200">
                <a:solidFill>
                  <a:schemeClr val="bg1"/>
                </a:solidFill>
                <a:latin typeface="Verdana" panose="020B0604030504040204" pitchFamily="34" charset="0"/>
              </a:defRPr>
            </a:lvl6pPr>
            <a:lvl7pPr marL="914400" algn="r" rtl="0" fontAlgn="base">
              <a:spcBef>
                <a:spcPct val="0"/>
              </a:spcBef>
              <a:spcAft>
                <a:spcPct val="0"/>
              </a:spcAft>
              <a:defRPr sz="3200">
                <a:solidFill>
                  <a:schemeClr val="bg1"/>
                </a:solidFill>
                <a:latin typeface="Verdana" panose="020B0604030504040204" pitchFamily="34" charset="0"/>
              </a:defRPr>
            </a:lvl7pPr>
            <a:lvl8pPr marL="1371600" algn="r" rtl="0" fontAlgn="base">
              <a:spcBef>
                <a:spcPct val="0"/>
              </a:spcBef>
              <a:spcAft>
                <a:spcPct val="0"/>
              </a:spcAft>
              <a:defRPr sz="3200">
                <a:solidFill>
                  <a:schemeClr val="bg1"/>
                </a:solidFill>
                <a:latin typeface="Verdana" panose="020B0604030504040204" pitchFamily="34" charset="0"/>
              </a:defRPr>
            </a:lvl8pPr>
            <a:lvl9pPr marL="1828800" algn="r" rtl="0" fontAlgn="base">
              <a:spcBef>
                <a:spcPct val="0"/>
              </a:spcBef>
              <a:spcAft>
                <a:spcPct val="0"/>
              </a:spcAft>
              <a:defRPr sz="3200">
                <a:solidFill>
                  <a:schemeClr val="bg1"/>
                </a:solidFill>
                <a:latin typeface="Verdana" panose="020B0604030504040204" pitchFamily="34" charset="0"/>
              </a:defRPr>
            </a:lvl9pPr>
          </a:lstStyle>
          <a:p>
            <a:pPr algn="l"/>
            <a:r>
              <a:rPr lang="zh-CN" altLang="en-US" sz="2400" b="1" dirty="0">
                <a:latin typeface="+mn-lt"/>
                <a:cs typeface="Open Sans" panose="020B0606030504020204" pitchFamily="34" charset="0"/>
              </a:rPr>
              <a:t>人文社科 </a:t>
            </a:r>
            <a:r>
              <a:rPr lang="en-US" altLang="zh-CN" sz="2400" b="1" dirty="0">
                <a:latin typeface="+mn-lt"/>
                <a:cs typeface="Open Sans" panose="020B0606030504020204" pitchFamily="34" charset="0"/>
              </a:rPr>
              <a:t>- </a:t>
            </a:r>
            <a:r>
              <a:rPr lang="zh-CN" altLang="en-US" sz="2400" b="1" dirty="0">
                <a:latin typeface="+mn-lt"/>
                <a:cs typeface="Open Sans" panose="020B0606030504020204" pitchFamily="34" charset="0"/>
              </a:rPr>
              <a:t>学位论文</a:t>
            </a:r>
            <a:endParaRPr lang="zh-CN" altLang="en-US" sz="2400" b="1" dirty="0">
              <a:latin typeface="+mn-lt"/>
              <a:cs typeface="Open Sans" panose="020B0606030504020204" pitchFamily="34" charset="0"/>
            </a:endParaRPr>
          </a:p>
        </p:txBody>
      </p:sp>
      <p:sp>
        <p:nvSpPr>
          <p:cNvPr id="22" name="Text Placeholder 4"/>
          <p:cNvSpPr>
            <a:spLocks noGrp="1"/>
          </p:cNvSpPr>
          <p:nvPr>
            <p:custDataLst>
              <p:tags r:id="rId6"/>
            </p:custDataLst>
          </p:nvPr>
        </p:nvSpPr>
        <p:spPr>
          <a:xfrm>
            <a:off x="467544" y="2495711"/>
            <a:ext cx="3240360" cy="3511550"/>
          </a:xfrm>
        </p:spPr>
        <p:txBody>
          <a:bodyPr/>
          <a:lstStyle>
            <a:lvl1pPr marL="342900" indent="-342900" algn="l" rtl="0" eaLnBrk="0" fontAlgn="base" hangingPunct="0">
              <a:spcBef>
                <a:spcPct val="20000"/>
              </a:spcBef>
              <a:spcAft>
                <a:spcPct val="0"/>
              </a:spcAft>
              <a:buClr>
                <a:schemeClr val="tx1"/>
              </a:buClr>
              <a:buSzPct val="120000"/>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85000"/>
              <a:buFont typeface="Arial" panose="020B0604020202020204" pitchFamily="34" charset="0"/>
              <a:buChar char="–"/>
              <a:defRPr sz="2400">
                <a:solidFill>
                  <a:schemeClr val="tx2"/>
                </a:solidFill>
                <a:latin typeface="+mn-lt"/>
              </a:defRPr>
            </a:lvl2pPr>
            <a:lvl3pPr marL="1143000" indent="-228600" algn="l" rtl="0" eaLnBrk="0" fontAlgn="base" hangingPunct="0">
              <a:spcBef>
                <a:spcPct val="20000"/>
              </a:spcBef>
              <a:spcAft>
                <a:spcPct val="0"/>
              </a:spcAft>
              <a:buClr>
                <a:schemeClr val="tx1"/>
              </a:buClr>
              <a:buFont typeface="Wingdings" panose="05000000000000000000" pitchFamily="2" charset="2"/>
              <a:buChar char="§"/>
              <a:defRPr sz="2400">
                <a:solidFill>
                  <a:schemeClr val="tx2"/>
                </a:solidFill>
                <a:latin typeface="+mn-lt"/>
              </a:defRPr>
            </a:lvl3pPr>
            <a:lvl4pPr marL="1600200" indent="-228600" algn="l" rtl="0" eaLnBrk="0" fontAlgn="base" hangingPunct="0">
              <a:spcBef>
                <a:spcPct val="20000"/>
              </a:spcBef>
              <a:spcAft>
                <a:spcPct val="0"/>
              </a:spcAft>
              <a:buClr>
                <a:schemeClr val="tx1"/>
              </a:buClr>
              <a:buSzPct val="75000"/>
              <a:buFont typeface="Arial" panose="020B0604020202020204" pitchFamily="34" charset="0"/>
              <a:buChar char="–"/>
              <a:defRPr sz="2000">
                <a:solidFill>
                  <a:schemeClr val="tx2"/>
                </a:solidFill>
                <a:latin typeface="+mn-lt"/>
              </a:defRPr>
            </a:lvl4pPr>
            <a:lvl5pPr marL="2057400" indent="-228600" algn="l" rtl="0" eaLnBrk="0" fontAlgn="base" hangingPunct="0">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5pPr>
            <a:lvl6pPr marL="25146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6pPr>
            <a:lvl7pPr marL="29718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7pPr>
            <a:lvl8pPr marL="34290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8pPr>
            <a:lvl9pPr marL="3886200" indent="-228600" algn="l" rtl="0" fontAlgn="base">
              <a:spcBef>
                <a:spcPct val="20000"/>
              </a:spcBef>
              <a:spcAft>
                <a:spcPct val="0"/>
              </a:spcAft>
              <a:buClr>
                <a:schemeClr val="tx1"/>
              </a:buClr>
              <a:buSzPct val="80000"/>
              <a:buFont typeface="Wingdings" panose="05000000000000000000" pitchFamily="2" charset="2"/>
              <a:buChar char="§"/>
              <a:defRPr sz="2000">
                <a:solidFill>
                  <a:schemeClr val="tx2"/>
                </a:solidFill>
                <a:latin typeface="+mn-lt"/>
              </a:defRPr>
            </a:lvl9pPr>
          </a:lstStyle>
          <a:p>
            <a:pPr marL="0" indent="0">
              <a:buNone/>
            </a:pPr>
            <a:r>
              <a:rPr lang="zh-CN" altLang="en-US" sz="2000" b="1" dirty="0">
                <a:solidFill>
                  <a:schemeClr val="tx1"/>
                </a:solidFill>
              </a:rPr>
              <a:t>人文领域学位论文通常是</a:t>
            </a:r>
            <a:r>
              <a:rPr lang="zh-CN" altLang="en-US" sz="2000" b="1" dirty="0">
                <a:solidFill>
                  <a:srgbClr val="FFFF00"/>
                </a:solidFill>
              </a:rPr>
              <a:t>小众主题研究</a:t>
            </a:r>
            <a:r>
              <a:rPr lang="zh-CN" altLang="en-US" sz="2000" b="1" dirty="0">
                <a:solidFill>
                  <a:schemeClr val="tx1"/>
                </a:solidFill>
              </a:rPr>
              <a:t>，通过访问著名学者第一手研究（</a:t>
            </a:r>
            <a:r>
              <a:rPr lang="en-US" altLang="zh-CN" sz="2000" b="1" dirty="0">
                <a:solidFill>
                  <a:schemeClr val="tx1"/>
                </a:solidFill>
              </a:rPr>
              <a:t>primary research</a:t>
            </a:r>
            <a:r>
              <a:rPr lang="zh-CN" altLang="en-US" sz="2000" b="1" dirty="0">
                <a:solidFill>
                  <a:schemeClr val="tx1"/>
                </a:solidFill>
              </a:rPr>
              <a:t>）及原创思想，为人文艺术以及社会科学研究提供关键支持</a:t>
            </a:r>
            <a:endParaRPr lang="zh-CN" altLang="en-US" sz="2000" b="1" dirty="0">
              <a:solidFill>
                <a:schemeClr val="tx1"/>
              </a:solidFill>
            </a:endParaRPr>
          </a:p>
          <a:p>
            <a:pPr marL="0" indent="0">
              <a:buNone/>
            </a:pPr>
            <a:endParaRPr lang="zh-CN" altLang="en-US" sz="2000" b="1" dirty="0">
              <a:solidFill>
                <a:schemeClr val="tx1"/>
              </a:solidFill>
            </a:endParaRPr>
          </a:p>
          <a:p>
            <a:pPr marL="0" indent="0">
              <a:buNone/>
            </a:pPr>
            <a:r>
              <a:rPr lang="zh-CN" altLang="en-US" sz="2000" b="1" dirty="0">
                <a:solidFill>
                  <a:schemeClr val="tx1"/>
                </a:solidFill>
              </a:rPr>
              <a:t>文献综述新维度：涵盖了</a:t>
            </a:r>
            <a:r>
              <a:rPr lang="zh-CN" altLang="en-US" sz="2000" b="1" dirty="0">
                <a:solidFill>
                  <a:srgbClr val="FFFF00"/>
                </a:solidFill>
              </a:rPr>
              <a:t>深度阐述</a:t>
            </a:r>
            <a:r>
              <a:rPr lang="zh-CN" altLang="en-US" sz="2000" b="1" dirty="0">
                <a:solidFill>
                  <a:schemeClr val="tx1"/>
                </a:solidFill>
              </a:rPr>
              <a:t>、</a:t>
            </a:r>
            <a:r>
              <a:rPr lang="zh-CN" altLang="en-US" sz="2000" b="1" dirty="0">
                <a:solidFill>
                  <a:srgbClr val="FFFF00"/>
                </a:solidFill>
              </a:rPr>
              <a:t>广泛的参考文献</a:t>
            </a:r>
            <a:r>
              <a:rPr lang="zh-CN" altLang="en-US" sz="2000" b="1" dirty="0">
                <a:solidFill>
                  <a:schemeClr val="tx1"/>
                </a:solidFill>
              </a:rPr>
              <a:t>以及</a:t>
            </a:r>
            <a:r>
              <a:rPr lang="zh-CN" altLang="en-US" sz="2000" b="1" dirty="0">
                <a:solidFill>
                  <a:srgbClr val="FFFF00"/>
                </a:solidFill>
              </a:rPr>
              <a:t>可能错过的新见解</a:t>
            </a:r>
            <a:endParaRPr lang="zh-CN" altLang="en-US" sz="2000" b="1" dirty="0">
              <a:solidFill>
                <a:srgbClr val="FFFF00"/>
              </a:solidFill>
            </a:endParaRPr>
          </a:p>
          <a:p>
            <a:endParaRPr lang="zh-CN" altLang="en-US" sz="1800" b="1" dirty="0">
              <a:solidFill>
                <a:schemeClr val="tx1"/>
              </a:solidFill>
            </a:endParaRPr>
          </a:p>
        </p:txBody>
      </p:sp>
      <p:pic>
        <p:nvPicPr>
          <p:cNvPr id="15" name="Picture 7"/>
          <p:cNvPicPr>
            <a:picLocks noChangeAspect="1"/>
          </p:cNvPicPr>
          <p:nvPr>
            <p:custDataLst>
              <p:tags r:id="rId7"/>
            </p:custDataLst>
          </p:nvPr>
        </p:nvPicPr>
        <p:blipFill>
          <a:blip r:embed="rId8"/>
          <a:stretch>
            <a:fillRect/>
          </a:stretch>
        </p:blipFill>
        <p:spPr>
          <a:xfrm>
            <a:off x="3949048" y="2564904"/>
            <a:ext cx="5176882" cy="3442357"/>
          </a:xfrm>
          <a:prstGeom prst="rect">
            <a:avLst/>
          </a:prstGeom>
        </p:spPr>
      </p:pic>
      <p:sp>
        <p:nvSpPr>
          <p:cNvPr id="17" name="Slide Number Placeholder 3"/>
          <p:cNvSpPr>
            <a:spLocks noGrp="1"/>
          </p:cNvSpPr>
          <p:nvPr>
            <p:custDataLst>
              <p:tags r:id="rId9"/>
            </p:custDataLst>
          </p:nvPr>
        </p:nvSpPr>
        <p:spPr>
          <a:xfrm>
            <a:off x="8631900" y="6348353"/>
            <a:ext cx="161924" cy="215900"/>
          </a:xfr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B044159E-D75D-1D4C-AB47-8DAEB39BDE1C}" type="slidenum">
              <a:rPr lang="en-US" sz="100" noProof="0" smtClean="0">
                <a:solidFill>
                  <a:schemeClr val="tx1"/>
                </a:solidFill>
              </a:rPr>
            </a:fld>
            <a:endParaRPr lang="en-US" sz="100" noProof="0">
              <a:solidFill>
                <a:schemeClr val="tx1"/>
              </a:solidFill>
            </a:endParaRPr>
          </a:p>
        </p:txBody>
      </p:sp>
      <p:grpSp>
        <p:nvGrpSpPr>
          <p:cNvPr id="18" name="Group 10"/>
          <p:cNvGrpSpPr/>
          <p:nvPr/>
        </p:nvGrpSpPr>
        <p:grpSpPr>
          <a:xfrm>
            <a:off x="3949047" y="4056153"/>
            <a:ext cx="2062674" cy="2003108"/>
            <a:chOff x="5754395" y="3046968"/>
            <a:chExt cx="3717693" cy="3370185"/>
          </a:xfrm>
        </p:grpSpPr>
        <p:pic>
          <p:nvPicPr>
            <p:cNvPr id="19" name="Picture 5"/>
            <p:cNvPicPr>
              <a:picLocks noChangeAspect="1"/>
            </p:cNvPicPr>
            <p:nvPr>
              <p:custDataLst>
                <p:tags r:id="rId10"/>
              </p:custDataLst>
            </p:nvPr>
          </p:nvPicPr>
          <p:blipFill rotWithShape="1">
            <a:blip r:embed="rId11"/>
            <a:srcRect b="-13353"/>
            <a:stretch>
              <a:fillRect/>
            </a:stretch>
          </p:blipFill>
          <p:spPr>
            <a:xfrm>
              <a:off x="5754395" y="3046968"/>
              <a:ext cx="3717693" cy="3282696"/>
            </a:xfrm>
            <a:prstGeom prst="rect">
              <a:avLst/>
            </a:prstGeom>
            <a:solidFill>
              <a:schemeClr val="bg1"/>
            </a:solidFill>
            <a:ln>
              <a:solidFill>
                <a:schemeClr val="bg2">
                  <a:lumMod val="10000"/>
                </a:schemeClr>
              </a:solidFill>
            </a:ln>
          </p:spPr>
        </p:pic>
        <p:sp>
          <p:nvSpPr>
            <p:cNvPr id="20" name="TextBox 6"/>
            <p:cNvSpPr txBox="1"/>
            <p:nvPr>
              <p:custDataLst>
                <p:tags r:id="rId12"/>
              </p:custDataLst>
            </p:nvPr>
          </p:nvSpPr>
          <p:spPr>
            <a:xfrm>
              <a:off x="5754395" y="5808823"/>
              <a:ext cx="3717693" cy="608330"/>
            </a:xfrm>
            <a:prstGeom prst="rect">
              <a:avLst/>
            </a:prstGeom>
            <a:noFill/>
          </p:spPr>
          <p:txBody>
            <a:bodyPr wrap="square" rtlCol="0">
              <a:normAutofit/>
            </a:bodyPr>
            <a:lstStyle/>
            <a:p>
              <a:r>
                <a:rPr lang="en-GB" sz="825" i="1" dirty="0">
                  <a:solidFill>
                    <a:schemeClr val="tx1"/>
                  </a:solidFill>
                  <a:latin typeface="+mn-lt"/>
                </a:rPr>
                <a:t>Sample content from Humanities dissertations in PQDT Global</a:t>
              </a:r>
              <a:endParaRPr lang="en-GB" sz="825" i="1" dirty="0">
                <a:solidFill>
                  <a:schemeClr val="tx1"/>
                </a:solidFill>
                <a:latin typeface="+mn-lt"/>
              </a:endParaRPr>
            </a:p>
          </p:txBody>
        </p:sp>
      </p:grpSp>
      <p:pic>
        <p:nvPicPr>
          <p:cNvPr id="21" name="Picture 3"/>
          <p:cNvPicPr>
            <a:picLocks noChangeAspect="1"/>
          </p:cNvPicPr>
          <p:nvPr>
            <p:custDataLst>
              <p:tags r:id="rId13"/>
            </p:custDataLst>
          </p:nvPr>
        </p:nvPicPr>
        <p:blipFill rotWithShape="1">
          <a:blip r:embed="rId14"/>
          <a:srcRect l="2313" r="5188"/>
          <a:stretch>
            <a:fillRect/>
          </a:stretch>
        </p:blipFill>
        <p:spPr>
          <a:xfrm>
            <a:off x="3949048" y="2570424"/>
            <a:ext cx="2062674" cy="1470236"/>
          </a:xfrm>
          <a:prstGeom prst="rect">
            <a:avLst/>
          </a:prstGeom>
          <a:ln>
            <a:solidFill>
              <a:schemeClr val="tx1">
                <a:lumMod val="85000"/>
                <a:lumOff val="15000"/>
              </a:schemeClr>
            </a:solidFill>
          </a:ln>
        </p:spPr>
      </p:pic>
      <p:sp>
        <p:nvSpPr>
          <p:cNvPr id="26" name="标题 25"/>
          <p:cNvSpPr>
            <a:spLocks noGrp="1"/>
          </p:cNvSpPr>
          <p:nvPr>
            <p:ph type="title"/>
            <p:custDataLst>
              <p:tags r:id="rId15"/>
            </p:custDataLst>
          </p:nvPr>
        </p:nvSpPr>
        <p:spPr/>
        <p:txBody>
          <a:bodyPr vert="horz" wrap="square" lIns="0" tIns="0" rIns="0" bIns="0" rtlCol="0" anchor="b">
            <a:normAutofit/>
          </a:bodyPr>
          <a:lstStyle/>
          <a:p>
            <a:r>
              <a:rPr lang="zh-CN" altLang="en-US" sz="3200" dirty="0">
                <a:sym typeface="+mn-ea"/>
              </a:rPr>
              <a:t>学位论文的学术价值</a:t>
            </a:r>
            <a:endParaRPr lang="zh-CN" altLang="en-US" sz="3200" dirty="0">
              <a:sym typeface="+mn-ea"/>
            </a:endParaRPr>
          </a:p>
        </p:txBody>
      </p:sp>
    </p:spTree>
    <p:custDataLst>
      <p:tags r:id="rId16"/>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custDataLst>
              <p:tags r:id="rId1"/>
            </p:custDataLst>
          </p:nvPr>
        </p:nvPicPr>
        <p:blipFill>
          <a:blip r:embed="rId2">
            <a:extLst>
              <a:ext uri="{28A0092B-C50C-407E-A947-70E740481C1C}">
                <a14:useLocalDpi xmlns:a14="http://schemas.microsoft.com/office/drawing/2010/main" val="0"/>
              </a:ext>
            </a:extLst>
          </a:blip>
          <a:srcRect/>
          <a:stretch>
            <a:fillRect/>
          </a:stretch>
        </p:blipFill>
        <p:spPr bwMode="auto">
          <a:xfrm>
            <a:off x="526656" y="908720"/>
            <a:ext cx="2228850" cy="282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3"/>
          <p:cNvPicPr>
            <a:picLocks noChangeAspect="1" noChangeArrowheads="1"/>
          </p:cNvPicPr>
          <p:nvPr>
            <p:custDataLst>
              <p:tags r:id="rId3"/>
            </p:custDataLst>
          </p:nvPr>
        </p:nvPicPr>
        <p:blipFill>
          <a:blip r:embed="rId4">
            <a:extLst>
              <a:ext uri="{28A0092B-C50C-407E-A947-70E740481C1C}">
                <a14:useLocalDpi xmlns:a14="http://schemas.microsoft.com/office/drawing/2010/main" val="0"/>
              </a:ext>
            </a:extLst>
          </a:blip>
          <a:srcRect/>
          <a:stretch>
            <a:fillRect/>
          </a:stretch>
        </p:blipFill>
        <p:spPr bwMode="auto">
          <a:xfrm>
            <a:off x="3347244" y="907231"/>
            <a:ext cx="2449512" cy="281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4"/>
          <p:cNvPicPr>
            <a:picLocks noChangeAspect="1" noChangeArrowheads="1"/>
          </p:cNvPicPr>
          <p:nvPr>
            <p:custDataLst>
              <p:tags r:id="rId5"/>
            </p:custDataLst>
          </p:nvPr>
        </p:nvPicPr>
        <p:blipFill>
          <a:blip r:embed="rId6">
            <a:extLst>
              <a:ext uri="{28A0092B-C50C-407E-A947-70E740481C1C}">
                <a14:useLocalDpi xmlns:a14="http://schemas.microsoft.com/office/drawing/2010/main" val="0"/>
              </a:ext>
            </a:extLst>
          </a:blip>
          <a:srcRect/>
          <a:stretch>
            <a:fillRect/>
          </a:stretch>
        </p:blipFill>
        <p:spPr bwMode="auto">
          <a:xfrm>
            <a:off x="6388496" y="900782"/>
            <a:ext cx="235996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矩形 9"/>
          <p:cNvSpPr>
            <a:spLocks noChangeArrowheads="1"/>
          </p:cNvSpPr>
          <p:nvPr>
            <p:custDataLst>
              <p:tags r:id="rId7"/>
            </p:custDataLst>
          </p:nvPr>
        </p:nvSpPr>
        <p:spPr bwMode="auto">
          <a:xfrm>
            <a:off x="467544" y="4077072"/>
            <a:ext cx="2520280" cy="83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97500"/>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eaLnBrk="1" hangingPunct="1"/>
            <a:r>
              <a:rPr lang="zh-CN" altLang="en-US" sz="1600" dirty="0">
                <a:solidFill>
                  <a:schemeClr val="tx1"/>
                </a:solidFill>
                <a:latin typeface="+mn-lt"/>
              </a:rPr>
              <a:t>德布罗意</a:t>
            </a:r>
            <a:endParaRPr lang="en-US" altLang="zh-CN" sz="1600" dirty="0">
              <a:latin typeface="+mn-lt"/>
            </a:endParaRPr>
          </a:p>
          <a:p>
            <a:pPr eaLnBrk="1" hangingPunct="1"/>
            <a:endParaRPr lang="en-US" altLang="zh-CN" sz="1600" dirty="0">
              <a:solidFill>
                <a:schemeClr val="tx1"/>
              </a:solidFill>
              <a:latin typeface="+mn-lt"/>
            </a:endParaRPr>
          </a:p>
          <a:p>
            <a:pPr eaLnBrk="1" hangingPunct="1"/>
            <a:r>
              <a:rPr lang="zh-CN" altLang="en-US" sz="1600" dirty="0">
                <a:solidFill>
                  <a:schemeClr val="tx1"/>
                </a:solidFill>
                <a:latin typeface="+mn-lt"/>
              </a:rPr>
              <a:t>法国著名理论物理学家</a:t>
            </a:r>
            <a:endParaRPr lang="zh-CN" altLang="en-US" sz="1600" dirty="0">
              <a:solidFill>
                <a:schemeClr val="tx1"/>
              </a:solidFill>
              <a:latin typeface="+mn-lt"/>
            </a:endParaRPr>
          </a:p>
        </p:txBody>
      </p:sp>
      <p:sp>
        <p:nvSpPr>
          <p:cNvPr id="2" name="文本框 1"/>
          <p:cNvSpPr txBox="1"/>
          <p:nvPr>
            <p:custDataLst>
              <p:tags r:id="rId8"/>
            </p:custDataLst>
          </p:nvPr>
        </p:nvSpPr>
        <p:spPr>
          <a:xfrm>
            <a:off x="3275488" y="4005064"/>
            <a:ext cx="5472975" cy="2664296"/>
          </a:xfrm>
          <a:prstGeom prst="rect">
            <a:avLst/>
          </a:prstGeom>
          <a:noFill/>
        </p:spPr>
        <p:txBody>
          <a:bodyPr wrap="square" rtlCol="0" anchor="t">
            <a:normAutofit/>
          </a:bodyPr>
          <a:lstStyle/>
          <a:p>
            <a:pPr>
              <a:lnSpc>
                <a:spcPct val="125000"/>
              </a:lnSpc>
            </a:pPr>
            <a:r>
              <a:rPr lang="zh-CN" altLang="en-US" sz="1600" b="1" dirty="0">
                <a:solidFill>
                  <a:srgbClr val="FFFF00"/>
                </a:solidFill>
                <a:latin typeface="+mn-lt"/>
              </a:rPr>
              <a:t>Recherches sur la théorie des Quanta (关于量子理论的研究)</a:t>
            </a:r>
            <a:endParaRPr lang="en-US" altLang="zh-CN" sz="1600" b="1" dirty="0">
              <a:solidFill>
                <a:srgbClr val="FFFF00"/>
              </a:solidFill>
              <a:latin typeface="+mn-lt"/>
            </a:endParaRPr>
          </a:p>
          <a:p>
            <a:pPr>
              <a:lnSpc>
                <a:spcPct val="125000"/>
              </a:lnSpc>
            </a:pPr>
            <a:r>
              <a:rPr lang="zh-CN" altLang="en-US" sz="1600" i="1" dirty="0">
                <a:solidFill>
                  <a:srgbClr val="FFFF00"/>
                </a:solidFill>
                <a:latin typeface="+mn-lt"/>
              </a:rPr>
              <a:t>巴黎大学  1924</a:t>
            </a:r>
            <a:endParaRPr lang="zh-CN" altLang="en-US" sz="1600" i="1" dirty="0">
              <a:solidFill>
                <a:srgbClr val="FFFF00"/>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出身贵族世家</a:t>
            </a:r>
            <a:endParaRPr lang="zh-CN" altLang="en-US" sz="1600" dirty="0">
              <a:solidFill>
                <a:schemeClr val="tx1"/>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半路出家从事物理研究</a:t>
            </a:r>
            <a:endParaRPr lang="zh-CN" altLang="en-US" sz="1600" dirty="0">
              <a:solidFill>
                <a:schemeClr val="tx1"/>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1924年11月，获得博士学位</a:t>
            </a:r>
            <a:endParaRPr lang="zh-CN" altLang="en-US" sz="1600" dirty="0">
              <a:solidFill>
                <a:schemeClr val="tx1"/>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1929年就赢得了诺贝尔物理学奖</a:t>
            </a:r>
            <a:endParaRPr lang="zh-CN" altLang="en-US" sz="1600" dirty="0">
              <a:solidFill>
                <a:schemeClr val="tx1"/>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造就了5位诺奖得主</a:t>
            </a:r>
            <a:endParaRPr lang="zh-CN" altLang="en-US" sz="1600" dirty="0">
              <a:solidFill>
                <a:schemeClr val="tx1"/>
              </a:solidFill>
              <a:latin typeface="+mn-lt"/>
            </a:endParaRPr>
          </a:p>
          <a:p>
            <a:pPr marL="285750" indent="-285750">
              <a:lnSpc>
                <a:spcPct val="125000"/>
              </a:lnSpc>
              <a:buFont typeface="Arial" panose="020B0604020202020204" pitchFamily="34" charset="0"/>
              <a:buChar char="•"/>
            </a:pPr>
            <a:r>
              <a:rPr lang="zh-CN" altLang="en-US" sz="1600" dirty="0">
                <a:solidFill>
                  <a:schemeClr val="tx1"/>
                </a:solidFill>
                <a:latin typeface="+mn-lt"/>
              </a:rPr>
              <a:t>开辟了好几个物理学界全新的领域</a:t>
            </a:r>
            <a:endParaRPr lang="zh-CN" altLang="en-US" sz="1600" dirty="0">
              <a:solidFill>
                <a:schemeClr val="tx1"/>
              </a:solidFill>
              <a:latin typeface="+mn-lt"/>
            </a:endParaRPr>
          </a:p>
        </p:txBody>
      </p:sp>
    </p:spTree>
    <p:custDataLst>
      <p:tags r:id="rId9"/>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t>2025</a:t>
            </a:r>
            <a:r>
              <a:rPr lang="zh-CN" altLang="en-US"/>
              <a:t>年斯隆研究奖计算机方向</a:t>
            </a:r>
            <a:endParaRPr lang="zh-CN" altLang="en-US"/>
          </a:p>
        </p:txBody>
      </p:sp>
      <p:sp>
        <p:nvSpPr>
          <p:cNvPr id="3" name="内容占位符 2"/>
          <p:cNvSpPr>
            <a:spLocks noGrp="1"/>
          </p:cNvSpPr>
          <p:nvPr>
            <p:ph idx="1"/>
          </p:nvPr>
        </p:nvSpPr>
        <p:spPr/>
        <p:txBody>
          <a:bodyPr/>
          <a:p>
            <a:endParaRPr lang="zh-CN" altLang="en-US"/>
          </a:p>
        </p:txBody>
      </p:sp>
      <p:graphicFrame>
        <p:nvGraphicFramePr>
          <p:cNvPr id="4" name="表格 3"/>
          <p:cNvGraphicFramePr/>
          <p:nvPr>
            <p:custDataLst>
              <p:tags r:id="rId1"/>
            </p:custDataLst>
          </p:nvPr>
        </p:nvGraphicFramePr>
        <p:xfrm>
          <a:off x="35560" y="1484630"/>
          <a:ext cx="9115425" cy="5347970"/>
        </p:xfrm>
        <a:graphic>
          <a:graphicData uri="http://schemas.openxmlformats.org/drawingml/2006/table">
            <a:tbl>
              <a:tblPr/>
              <a:tblGrid>
                <a:gridCol w="2861945"/>
                <a:gridCol w="1493520"/>
                <a:gridCol w="2191385"/>
                <a:gridCol w="377190"/>
                <a:gridCol w="2191385"/>
              </a:tblGrid>
              <a:tr h="456565">
                <a:tc>
                  <a:txBody>
                    <a:bodyPr/>
                    <a:p>
                      <a:pPr algn="ctr" fontAlgn="ctr"/>
                      <a:r>
                        <a:rPr lang="zh-CN" altLang="en-US" sz="900" b="0" i="0">
                          <a:solidFill>
                            <a:srgbClr val="000000"/>
                          </a:solidFill>
                          <a:latin typeface="Segoe UI" panose="020B0502040204020203"/>
                          <a:ea typeface="Segoe UI" panose="020B0502040204020203"/>
                        </a:rPr>
                        <a:t>论文题目</a:t>
                      </a:r>
                      <a:endParaRPr lang="zh-CN" altLang="en-US"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ctr" fontAlgn="ctr"/>
                      <a:r>
                        <a:rPr lang="zh-CN" altLang="en-US" sz="900" b="0" i="0">
                          <a:solidFill>
                            <a:srgbClr val="000000"/>
                          </a:solidFill>
                          <a:latin typeface="Segoe UI" panose="020B0502040204020203"/>
                          <a:ea typeface="Segoe UI" panose="020B0502040204020203"/>
                        </a:rPr>
                        <a:t>作者</a:t>
                      </a:r>
                      <a:endParaRPr lang="zh-CN" altLang="en-US"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ctr" fontAlgn="ctr"/>
                      <a:r>
                        <a:rPr lang="zh-CN" altLang="en-US" sz="900" b="0" i="0">
                          <a:solidFill>
                            <a:srgbClr val="000000"/>
                          </a:solidFill>
                          <a:latin typeface="Segoe UI" panose="020B0502040204020203"/>
                          <a:ea typeface="Segoe UI" panose="020B0502040204020203"/>
                        </a:rPr>
                        <a:t>毕业院校</a:t>
                      </a:r>
                      <a:endParaRPr lang="zh-CN" altLang="en-US"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ctr" fontAlgn="ctr"/>
                      <a:r>
                        <a:rPr lang="zh-CN" altLang="en-US" sz="900" b="0" i="0">
                          <a:solidFill>
                            <a:srgbClr val="000000"/>
                          </a:solidFill>
                          <a:latin typeface="宋体" panose="02010600030101010101" pitchFamily="2" charset="-122"/>
                          <a:ea typeface="宋体" panose="02010600030101010101" pitchFamily="2" charset="-122"/>
                        </a:rPr>
                        <a:t>毕业年度</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ctr" fontAlgn="ctr"/>
                      <a:r>
                        <a:rPr lang="zh-CN" altLang="en-US" sz="900" b="0" i="0">
                          <a:solidFill>
                            <a:srgbClr val="000000"/>
                          </a:solidFill>
                          <a:latin typeface="宋体" panose="02010600030101010101" pitchFamily="2" charset="-122"/>
                          <a:ea typeface="宋体" panose="02010600030101010101" pitchFamily="2" charset="-122"/>
                        </a:rPr>
                        <a:t>执教机构</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r>
              <a:tr h="543560">
                <a:tc>
                  <a:txBody>
                    <a:bodyPr/>
                    <a:p>
                      <a:pPr algn="l" fontAlgn="ctr"/>
                      <a:r>
                        <a:rPr lang="en-US" altLang="zh-CN" sz="900" b="0" i="0">
                          <a:solidFill>
                            <a:srgbClr val="000000"/>
                          </a:solidFill>
                          <a:latin typeface="Segoe UI" panose="020B0502040204020203"/>
                          <a:ea typeface="Segoe UI" panose="020B0502040204020203"/>
                        </a:rPr>
                        <a:t>Adaptive Crowd Algorithms for Open-Ended Problems</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Lydia B. Chilton</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University of Washington</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0</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哥伦比亚大学计算机科学系</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543560">
                <a:tc>
                  <a:txBody>
                    <a:bodyPr/>
                    <a:p>
                      <a:pPr algn="l" fontAlgn="ctr"/>
                      <a:r>
                        <a:rPr lang="en-US" altLang="zh-CN" sz="900" b="0" i="0">
                          <a:solidFill>
                            <a:srgbClr val="000000"/>
                          </a:solidFill>
                          <a:latin typeface="Segoe UI" panose="020B0502040204020203"/>
                          <a:ea typeface="Segoe UI" panose="020B0502040204020203"/>
                        </a:rPr>
                        <a:t>Automated Discovery of Machine Learning Optimizations</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Zhihao Jia (</a:t>
                      </a:r>
                      <a:r>
                        <a:rPr lang="zh-CN" altLang="en-US" sz="900" b="0" i="0">
                          <a:solidFill>
                            <a:srgbClr val="000000"/>
                          </a:solidFill>
                          <a:latin typeface="Segoe UI" panose="020B0502040204020203"/>
                          <a:ea typeface="Segoe UI" panose="020B0502040204020203"/>
                        </a:rPr>
                        <a:t>贾志豪</a:t>
                      </a:r>
                      <a:r>
                        <a:rPr lang="en-US" altLang="zh-CN" sz="900" b="0" i="0">
                          <a:solidFill>
                            <a:srgbClr val="000000"/>
                          </a:solidFill>
                          <a:latin typeface="Segoe UI" panose="020B0502040204020203"/>
                          <a:ea typeface="Segoe UI" panose="020B0502040204020203"/>
                        </a:rPr>
                        <a:t>)</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Stanford University</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20</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卡内基梅隆大学计算机科学系</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542925">
                <a:tc>
                  <a:txBody>
                    <a:bodyPr/>
                    <a:p>
                      <a:pPr algn="l" fontAlgn="ctr"/>
                      <a:r>
                        <a:rPr lang="en-US" altLang="zh-CN" sz="900" b="0" i="0">
                          <a:solidFill>
                            <a:srgbClr val="000000"/>
                          </a:solidFill>
                          <a:latin typeface="Segoe UI" panose="020B0502040204020203"/>
                          <a:ea typeface="Segoe UI" panose="020B0502040204020203"/>
                        </a:rPr>
                        <a:t>Fairness in Algorithmic Services</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Allison Z. Koenecke</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Stanford University</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8</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康奈尔大学信息科学系</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815340">
                <a:tc>
                  <a:txBody>
                    <a:bodyPr/>
                    <a:p>
                      <a:pPr algn="l" fontAlgn="ctr"/>
                      <a:r>
                        <a:rPr lang="en-US" altLang="zh-CN" sz="900" b="0" i="0">
                          <a:solidFill>
                            <a:srgbClr val="000000"/>
                          </a:solidFill>
                          <a:latin typeface="Segoe UI" panose="020B0502040204020203"/>
                          <a:ea typeface="Segoe UI" panose="020B0502040204020203"/>
                        </a:rPr>
                        <a:t>Human-Centric Machine Learning: Enabling Machine Learning for High-Stakes Decision-Making</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Himabindu Lakkaraju</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Stanford University</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8</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哈佛大学商学院</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815975">
                <a:tc>
                  <a:txBody>
                    <a:bodyPr/>
                    <a:p>
                      <a:pPr algn="l" fontAlgn="ctr"/>
                      <a:r>
                        <a:rPr lang="en-US" altLang="zh-CN" sz="900" b="0" i="0">
                          <a:solidFill>
                            <a:srgbClr val="000000"/>
                          </a:solidFill>
                          <a:latin typeface="Segoe UI" panose="020B0502040204020203"/>
                          <a:ea typeface="Segoe UI" panose="020B0502040204020203"/>
                        </a:rPr>
                        <a:t>Representation Learning for Web Intelligence</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Sharon Yixuan Li (</a:t>
                      </a:r>
                      <a:r>
                        <a:rPr lang="zh-CN" altLang="en-US" sz="900" b="0" i="0">
                          <a:solidFill>
                            <a:srgbClr val="000000"/>
                          </a:solidFill>
                          <a:latin typeface="Segoe UI" panose="020B0502040204020203"/>
                          <a:ea typeface="Segoe UI" panose="020B0502040204020203"/>
                        </a:rPr>
                        <a:t>李一璇</a:t>
                      </a:r>
                      <a:r>
                        <a:rPr lang="en-US" altLang="zh-CN" sz="900" b="0" i="0">
                          <a:solidFill>
                            <a:srgbClr val="000000"/>
                          </a:solidFill>
                          <a:latin typeface="Segoe UI" panose="020B0502040204020203"/>
                          <a:ea typeface="Segoe UI" panose="020B0502040204020203"/>
                        </a:rPr>
                        <a:t>)</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Cornell University</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7</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威斯康星大学麦迪逊分校计算机系</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542925">
                <a:tc>
                  <a:txBody>
                    <a:bodyPr/>
                    <a:p>
                      <a:pPr algn="l" fontAlgn="ctr"/>
                      <a:r>
                        <a:rPr lang="en-US" altLang="zh-CN" sz="900" b="0" i="0">
                          <a:solidFill>
                            <a:srgbClr val="000000"/>
                          </a:solidFill>
                          <a:latin typeface="Segoe UI" panose="020B0502040204020203"/>
                          <a:ea typeface="Segoe UI" panose="020B0502040204020203"/>
                        </a:rPr>
                        <a:t>Hardness of Approximation Between P and NP</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Aviad Rubinstein</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University of California, Berkeley</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endParaRPr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endParaRPr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r>
              <a:tr h="543560">
                <a:tc>
                  <a:txBody>
                    <a:bodyPr/>
                    <a:p>
                      <a:pPr algn="l" fontAlgn="ctr"/>
                      <a:r>
                        <a:rPr lang="en-US" altLang="zh-CN" sz="900" b="0" i="0">
                          <a:solidFill>
                            <a:srgbClr val="000000"/>
                          </a:solidFill>
                          <a:latin typeface="Segoe UI" panose="020B0502040204020203"/>
                          <a:ea typeface="Segoe UI" panose="020B0502040204020203"/>
                        </a:rPr>
                        <a:t>Towards Democratizing Data Science with Natural Language Interfaces</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Yu Su (</a:t>
                      </a:r>
                      <a:r>
                        <a:rPr lang="zh-CN" altLang="en-US" sz="900" b="0" i="0">
                          <a:solidFill>
                            <a:srgbClr val="000000"/>
                          </a:solidFill>
                          <a:latin typeface="Segoe UI" panose="020B0502040204020203"/>
                          <a:ea typeface="Segoe UI" panose="020B0502040204020203"/>
                        </a:rPr>
                        <a:t>苏煜</a:t>
                      </a:r>
                      <a:r>
                        <a:rPr lang="en-US" altLang="zh-CN" sz="900" b="0" i="0">
                          <a:solidFill>
                            <a:srgbClr val="000000"/>
                          </a:solidFill>
                          <a:latin typeface="Segoe UI" panose="020B0502040204020203"/>
                          <a:ea typeface="Segoe UI" panose="020B0502040204020203"/>
                        </a:rPr>
                        <a:t>)</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University of California, Santa Barbara</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8</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zh-CN" altLang="en-US" sz="900" b="0" i="0">
                          <a:solidFill>
                            <a:srgbClr val="000000"/>
                          </a:solidFill>
                          <a:latin typeface="宋体" panose="02010600030101010101" pitchFamily="2" charset="-122"/>
                          <a:ea typeface="宋体" panose="02010600030101010101" pitchFamily="2" charset="-122"/>
                        </a:rPr>
                        <a:t>俄亥俄州立大学计算机科学与工程系</a:t>
                      </a:r>
                      <a:endParaRPr lang="zh-CN" altLang="en-US" sz="900" b="0" i="0">
                        <a:solidFill>
                          <a:srgbClr val="000000"/>
                        </a:solidFill>
                        <a:latin typeface="宋体" panose="02010600030101010101" pitchFamily="2" charset="-122"/>
                        <a:ea typeface="宋体" panose="02010600030101010101" pitchFamily="2" charset="-122"/>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r h="543560">
                <a:tc>
                  <a:txBody>
                    <a:bodyPr/>
                    <a:p>
                      <a:pPr algn="l" fontAlgn="ctr"/>
                      <a:r>
                        <a:rPr lang="en-US" altLang="zh-CN" sz="900" b="0" i="0">
                          <a:solidFill>
                            <a:srgbClr val="000000"/>
                          </a:solidFill>
                          <a:latin typeface="Segoe UI" panose="020B0502040204020203"/>
                          <a:ea typeface="Segoe UI" panose="020B0502040204020203"/>
                        </a:rPr>
                        <a:t>A New Paradigm for Practical Maliciously Secure Multi-party Computation</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Xiao Wang (</a:t>
                      </a:r>
                      <a:r>
                        <a:rPr lang="zh-CN" altLang="en-US" sz="900" b="0" i="0">
                          <a:solidFill>
                            <a:srgbClr val="000000"/>
                          </a:solidFill>
                          <a:latin typeface="Segoe UI" panose="020B0502040204020203"/>
                          <a:ea typeface="Segoe UI" panose="020B0502040204020203"/>
                        </a:rPr>
                        <a:t>汪骁</a:t>
                      </a:r>
                      <a:r>
                        <a:rPr lang="en-US" altLang="zh-CN" sz="900" b="0" i="0">
                          <a:solidFill>
                            <a:srgbClr val="000000"/>
                          </a:solidFill>
                          <a:latin typeface="Segoe UI" panose="020B0502040204020203"/>
                          <a:ea typeface="Segoe UI" panose="020B0502040204020203"/>
                        </a:rPr>
                        <a:t>)</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FF"/>
                    </a:solidFill>
                  </a:tcPr>
                </a:tc>
                <a:tc>
                  <a:txBody>
                    <a:bodyPr/>
                    <a:p>
                      <a:pPr algn="l" fontAlgn="ctr"/>
                      <a:r>
                        <a:rPr lang="en-US" altLang="zh-CN" sz="900" b="0" i="0">
                          <a:solidFill>
                            <a:srgbClr val="000000"/>
                          </a:solidFill>
                          <a:latin typeface="Segoe UI" panose="020B0502040204020203"/>
                          <a:ea typeface="Segoe UI" panose="020B0502040204020203"/>
                        </a:rPr>
                        <a:t>University of Maryland, College Park</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r" fontAlgn="ctr"/>
                      <a:r>
                        <a:rPr lang="en-US" altLang="zh-CN" sz="900" b="0" i="0">
                          <a:solidFill>
                            <a:srgbClr val="000000"/>
                          </a:solidFill>
                          <a:latin typeface="Segoe UI" panose="020B0502040204020203"/>
                          <a:ea typeface="Segoe UI" panose="020B0502040204020203"/>
                        </a:rPr>
                        <a:t>2018</a:t>
                      </a:r>
                      <a:endParaRPr lang="en-US" altLang="zh-CN"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c>
                  <a:txBody>
                    <a:bodyPr/>
                    <a:p>
                      <a:pPr algn="l" fontAlgn="ctr"/>
                      <a:r>
                        <a:rPr lang="en-US" altLang="zh-CN" sz="900" b="0" i="0">
                          <a:solidFill>
                            <a:srgbClr val="000000"/>
                          </a:solidFill>
                          <a:latin typeface="Segoe UI" panose="020B0502040204020203"/>
                          <a:ea typeface="Segoe UI" panose="020B0502040204020203"/>
                        </a:rPr>
                        <a:t> </a:t>
                      </a:r>
                      <a:r>
                        <a:rPr lang="zh-CN" altLang="en-US" sz="900" b="0" i="0">
                          <a:solidFill>
                            <a:srgbClr val="000000"/>
                          </a:solidFill>
                          <a:latin typeface="Segoe UI" panose="020B0502040204020203"/>
                          <a:ea typeface="Segoe UI" panose="020B0502040204020203"/>
                        </a:rPr>
                        <a:t>西北大学计算机科学系</a:t>
                      </a:r>
                      <a:endParaRPr lang="zh-CN" altLang="en-US" sz="900" b="0" i="0">
                        <a:solidFill>
                          <a:srgbClr val="000000"/>
                        </a:solidFill>
                        <a:latin typeface="Segoe UI" panose="020B0502040204020203"/>
                        <a:ea typeface="Segoe UI" panose="020B0502040204020203"/>
                      </a:endParaRPr>
                    </a:p>
                  </a:txBody>
                  <a:tcPr marL="5080" marR="5080" marT="5080" marB="0"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solidFill>
                      <a:srgbClr val="FFFF00"/>
                    </a:solid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图片"/>
          <p:cNvPicPr>
            <a:picLocks noChangeAspect="1" noChangeArrowheads="1"/>
          </p:cNvPicPr>
          <p:nvPr>
            <p:custDataLst>
              <p:tags r:id="rId1"/>
            </p:custDataLst>
          </p:nvPr>
        </p:nvPicPr>
        <p:blipFill>
          <a:blip r:embed="rId2" cstate="print">
            <a:extLst>
              <a:ext uri="{28A0092B-C50C-407E-A947-70E740481C1C}">
                <a14:useLocalDpi xmlns:a14="http://schemas.microsoft.com/office/drawing/2010/main" val="0"/>
              </a:ext>
            </a:extLst>
          </a:blip>
          <a:srcRect/>
          <a:stretch>
            <a:fillRect/>
          </a:stretch>
        </p:blipFill>
        <p:spPr bwMode="auto">
          <a:xfrm>
            <a:off x="126156" y="1340484"/>
            <a:ext cx="3005329" cy="3005329"/>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descr="杨振宁的三篇论文"/>
          <p:cNvPicPr>
            <a:picLocks noChangeAspect="1"/>
          </p:cNvPicPr>
          <p:nvPr>
            <p:custDataLst>
              <p:tags r:id="rId3"/>
            </p:custDataLst>
          </p:nvPr>
        </p:nvPicPr>
        <p:blipFill>
          <a:blip r:embed="rId4"/>
          <a:stretch>
            <a:fillRect/>
          </a:stretch>
        </p:blipFill>
        <p:spPr>
          <a:xfrm>
            <a:off x="3275965" y="1412875"/>
            <a:ext cx="5632133" cy="5297805"/>
          </a:xfrm>
          <a:prstGeom prst="rect">
            <a:avLst/>
          </a:prstGeom>
        </p:spPr>
      </p:pic>
      <p:cxnSp>
        <p:nvCxnSpPr>
          <p:cNvPr id="4" name="直接连接符 3"/>
          <p:cNvCxnSpPr/>
          <p:nvPr>
            <p:custDataLst>
              <p:tags r:id="rId5"/>
            </p:custDataLst>
          </p:nvPr>
        </p:nvCxnSpPr>
        <p:spPr>
          <a:xfrm>
            <a:off x="3357880" y="5869305"/>
            <a:ext cx="4166870" cy="7620"/>
          </a:xfrm>
          <a:prstGeom prst="line">
            <a:avLst/>
          </a:prstGeom>
          <a:ln>
            <a:solidFill>
              <a:schemeClr val="accent1"/>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2" name="图片 1"/>
          <p:cNvPicPr>
            <a:picLocks noChangeAspect="1"/>
          </p:cNvPicPr>
          <p:nvPr>
            <p:custDataLst>
              <p:tags r:id="rId6"/>
            </p:custDataLst>
          </p:nvPr>
        </p:nvPicPr>
        <p:blipFill>
          <a:blip r:embed="rId7"/>
          <a:stretch>
            <a:fillRect/>
          </a:stretch>
        </p:blipFill>
        <p:spPr>
          <a:xfrm>
            <a:off x="144772" y="1268760"/>
            <a:ext cx="8762264" cy="5400000"/>
          </a:xfrm>
          <a:prstGeom prst="rect">
            <a:avLst/>
          </a:prstGeom>
        </p:spPr>
      </p:pic>
      <p:sp>
        <p:nvSpPr>
          <p:cNvPr id="5" name="文本框 4"/>
          <p:cNvSpPr txBox="1"/>
          <p:nvPr>
            <p:custDataLst>
              <p:tags r:id="rId8"/>
            </p:custDataLst>
          </p:nvPr>
        </p:nvSpPr>
        <p:spPr>
          <a:xfrm>
            <a:off x="2555875" y="2204720"/>
            <a:ext cx="3048000" cy="337185"/>
          </a:xfrm>
          <a:prstGeom prst="rect">
            <a:avLst/>
          </a:prstGeom>
          <a:noFill/>
        </p:spPr>
        <p:txBody>
          <a:bodyPr wrap="square" rtlCol="0">
            <a:normAutofit fontScale="97500"/>
          </a:bodyPr>
          <a:lstStyle/>
          <a:p>
            <a:r>
              <a:rPr lang="zh-CN" altLang="en-US" sz="1600">
                <a:solidFill>
                  <a:schemeClr val="dk1"/>
                </a:solidFill>
                <a:latin typeface="+mn-lt"/>
              </a:rPr>
              <a:t>核反应的角分布与符合测量</a:t>
            </a:r>
            <a:endParaRPr lang="zh-CN" altLang="en-US" sz="1600">
              <a:solidFill>
                <a:schemeClr val="dk1"/>
              </a:solidFill>
              <a:latin typeface="+mn-lt"/>
            </a:endParaRPr>
          </a:p>
        </p:txBody>
      </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dissolve">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ppt_x"/>
                                          </p:val>
                                        </p:tav>
                                        <p:tav tm="100000">
                                          <p:val>
                                            <p:strVal val="#ppt_x"/>
                                          </p:val>
                                        </p:tav>
                                      </p:tavLst>
                                    </p:anim>
                                    <p:anim calcmode="lin" valueType="num">
                                      <p:cBhvr additive="base">
                                        <p:cTn id="25" dur="500" fill="hold"/>
                                        <p:tgtEl>
                                          <p:spTgt spid="2"/>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500" fill="hold"/>
                                        <p:tgtEl>
                                          <p:spTgt spid="5"/>
                                        </p:tgtEl>
                                        <p:attrNameLst>
                                          <p:attrName>ppt_x</p:attrName>
                                        </p:attrNameLst>
                                      </p:cBhvr>
                                      <p:tavLst>
                                        <p:tav tm="0">
                                          <p:val>
                                            <p:strVal val="#ppt_x"/>
                                          </p:val>
                                        </p:tav>
                                        <p:tav tm="100000">
                                          <p:val>
                                            <p:strVal val="#ppt_x"/>
                                          </p:val>
                                        </p:tav>
                                      </p:tavLst>
                                    </p:anim>
                                    <p:anim calcmode="lin" valueType="num">
                                      <p:cBhvr additive="base">
                                        <p:cTn id="2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tags/tag1.xml><?xml version="1.0" encoding="utf-8"?>
<p:tagLst xmlns:p="http://schemas.openxmlformats.org/presentationml/2006/main">
  <p:tag name="KSO_WM_UNIT_TYPE" val="i"/>
  <p:tag name="KSO_WM_UNIT_INDEX" val="1"/>
  <p:tag name="KSO_WM_BEAUTIFY_FLAG" val="#wm#"/>
  <p:tag name="KSO_WM_TAG_VERSION" val="3.0"/>
  <p:tag name="KSO_WM_UNIT_ID" val="_1*i*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0.xml><?xml version="1.0" encoding="utf-8"?>
<p:tagLst xmlns:p="http://schemas.openxmlformats.org/presentationml/2006/main">
  <p:tag name="KSO_WM_UNIT_TYPE" val="i"/>
  <p:tag name="KSO_WM_UNIT_INDEX" val="3"/>
  <p:tag name="KSO_WM_BEAUTIFY_FLAG" val="#wm#"/>
  <p:tag name="KSO_WM_TAG_VERSION" val="3.0"/>
  <p:tag name="KSO_WM_UNIT_ID" val="_1*i*3"/>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2"/>
  <p:tag name="KSO_WM_UNIT_LAYERLEVEL" val="1"/>
  <p:tag name="KSO_WM_TAG_VERSION" val="3.0"/>
  <p:tag name="KSO_WM_BEAUTIFY_FLAG" val="#wm#"/>
  <p:tag name="KSO_WM_UNIT_TYPE" val="i"/>
  <p:tag name="KSO_WM_UNIT_INDEX" val="2"/>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3"/>
  <p:tag name="KSO_WM_UNIT_LAYERLEVEL" val="1"/>
  <p:tag name="KSO_WM_TAG_VERSION" val="3.0"/>
  <p:tag name="KSO_WM_BEAUTIFY_FLAG" val="#wm#"/>
  <p:tag name="KSO_WM_UNIT_TYPE" val="i"/>
  <p:tag name="KSO_WM_UNIT_INDEX" val="3"/>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a*1"/>
  <p:tag name="KSO_WM_UNIT_LAYERLEVEL" val="1"/>
  <p:tag name="KSO_WM_TAG_VERSION" val="3.0"/>
  <p:tag name="KSO_WM_BEAUTIFY_FLAG" val="#wm#"/>
  <p:tag name="KSO_WM_UNIT_ISCONTENTSTITLE" val="0"/>
  <p:tag name="KSO_WM_UNIT_ISNUMDGMTITLE" val="0"/>
  <p:tag name="KSO_WM_UNIT_PRESET_TEXT" val="单击此处编辑母版标题样式"/>
  <p:tag name="KSO_WM_UNIT_NOCLEAR" val="0"/>
  <p:tag name="KSO_WM_UNIT_VALUE" val="30"/>
  <p:tag name="KSO_WM_UNIT_TYPE" val="a"/>
  <p:tag name="KSO_WM_UNIT_INDEX" val="1"/>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 name="KSO_WM_UNIT_NOCLEAR" val="0"/>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f*1"/>
  <p:tag name="KSO_WM_UNIT_LAYERLEVEL" val="1"/>
  <p:tag name="KSO_WM_TAG_VERSION" val="3.0"/>
  <p:tag name="KSO_WM_BEAUTIFY_FLAG" val="#wm#"/>
  <p:tag name="KSO_WM_UNIT_SUBTYPE" val="b"/>
  <p:tag name="KSO_WM_UNIT_PRESET_TEXT" val="署名占位符"/>
  <p:tag name="KSO_WM_UNIT_NOCLEAR" val="0"/>
  <p:tag name="KSO_WM_UNIT_VALUE" val="8"/>
  <p:tag name="KSO_WM_UNIT_TYPE" val="f"/>
  <p:tag name="KSO_WM_UNIT_INDEX" val="1"/>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_0*i*1"/>
  <p:tag name="KSO_WM_UNIT_LAYERLEVEL" val="1"/>
  <p:tag name="KSO_WM_TAG_VERSION" val="3.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a*1"/>
  <p:tag name="KSO_WM_UNIT_LAYERLEVEL" val="1"/>
  <p:tag name="KSO_WM_TAG_VERSION" val="1.0"/>
  <p:tag name="KSO_WM_BEAUTIFY_FLAG" val="#wm#"/>
  <p:tag name="KSO_WM_UNIT_ISCONTENTSTITLE" val="0"/>
  <p:tag name="KSO_WM_UNIT_ISNUMDGMTITLE" val="0"/>
  <p:tag name="KSO_WM_UNIT_PRESET_TEXT" val="单击此处编辑母版标题样式"/>
  <p:tag name="KSO_WM_UNIT_NOCLEAR" val="0"/>
  <p:tag name="KSO_WM_UNIT_TYPE" val="a"/>
  <p:tag name="KSO_WM_UNIT_INDEX" val="1"/>
  <p:tag name="KSO_WM_TEMPLATE_CATEGORY" val="custom"/>
  <p:tag name="KSO_WM_TEMPLATE_INDEX" val="20231422"/>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f*1"/>
  <p:tag name="KSO_WM_UNIT_LAYERLEVEL" val="1"/>
  <p:tag name="KSO_WM_TAG_VERSION" val="1.0"/>
  <p:tag name="KSO_WM_BEAUTIFY_FLAG" val="#wm#"/>
  <p:tag name="KSO_WM_UNIT_SUBTYPE" val="a"/>
  <p:tag name="KSO_WM_UNIT_PRESET_TEXT" val="单击此处编辑母版文本样式&#10;二级&#10;三级&#10;四级&#10;五级"/>
  <p:tag name="KSO_WM_UNIT_NOCLEAR" val="0"/>
  <p:tag name="KSO_WM_UNIT_TYPE" val="f"/>
  <p:tag name="KSO_WM_UNIT_INDEX" val="1"/>
  <p:tag name="KSO_WM_TEMPLATE_CATEGORY" val="custom"/>
  <p:tag name="KSO_WM_TEMPLATE_INDEX" val="20231422"/>
</p:tagLst>
</file>

<file path=ppt/tags/tag11.xml><?xml version="1.0" encoding="utf-8"?>
<p:tagLst xmlns:p="http://schemas.openxmlformats.org/presentationml/2006/main">
  <p:tag name="KSO_WM_UNIT_TYPE" val="i"/>
  <p:tag name="KSO_WM_UNIT_INDEX" val="4"/>
  <p:tag name="KSO_WM_BEAUTIFY_FLAG" val="#wm#"/>
  <p:tag name="KSO_WM_TAG_VERSION" val="3.0"/>
  <p:tag name="KSO_WM_UNIT_ID" val="_1*i*4"/>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113.xml><?xml version="1.0" encoding="utf-8"?>
<p:tagLst xmlns:p="http://schemas.openxmlformats.org/presentationml/2006/main">
  <p:tag name="KSO_WM_BEAUTIFY_FLAG" val="#wm#"/>
  <p:tag name="KSO_WM_UNIT_HIGHLIGHT" val="0"/>
  <p:tag name="KSO_WM_UNIT_COMPATIBLE" val="0"/>
  <p:tag name="KSO_WM_UNIT_DIAGRAM_ISNUMVISUAL" val="0"/>
  <p:tag name="KSO_WM_UNIT_DIAGRAM_ISREFERUNIT" val="0"/>
  <p:tag name="KSO_WM_UNIT_ID" val="_0*i*2"/>
  <p:tag name="KSO_WM_UNIT_LAYERLEVEL" val="1"/>
  <p:tag name="KSO_WM_TAG_VERSION" val="3.0"/>
  <p:tag name="KSO_WM_UNIT_TYPE" val="i"/>
  <p:tag name="KSO_WM_UNIT_INDEX" val="2"/>
</p:tagLst>
</file>

<file path=ppt/tags/tag114.xml><?xml version="1.0" encoding="utf-8"?>
<p:tagLst xmlns:p="http://schemas.openxmlformats.org/presentationml/2006/main">
  <p:tag name="KSO_WM_BEAUTIFY_FLAG" val="#wm#"/>
  <p:tag name="KSO_WM_UNIT_HIGHLIGHT" val="0"/>
  <p:tag name="KSO_WM_UNIT_COMPATIBLE" val="0"/>
  <p:tag name="KSO_WM_UNIT_DIAGRAM_ISNUMVISUAL" val="0"/>
  <p:tag name="KSO_WM_UNIT_DIAGRAM_ISREFERUNIT" val="0"/>
  <p:tag name="KSO_WM_UNIT_ID" val="_0*i*3"/>
  <p:tag name="KSO_WM_UNIT_LAYERLEVEL" val="1"/>
  <p:tag name="KSO_WM_TAG_VERSION" val="3.0"/>
  <p:tag name="KSO_WM_UNIT_TYPE" val="i"/>
  <p:tag name="KSO_WM_UNIT_INDEX" val="3"/>
</p:tagLst>
</file>

<file path=ppt/tags/tag115.xml><?xml version="1.0" encoding="utf-8"?>
<p:tagLst xmlns:p="http://schemas.openxmlformats.org/presentationml/2006/main">
  <p:tag name="KSO_WM_TEMPLATE_SUBCATEGORY" val="29"/>
  <p:tag name="KSO_WM_TEMPLATE_MASTER_TYPE" val="0"/>
  <p:tag name="KSO_WM_TEMPLATE_COLOR_TYPE" val="0"/>
  <p:tag name="KSO_WM_TAG_VERSION" val="3.0"/>
  <p:tag name="KSO_WM_BEAUTIFY_FLAG" val="#wm#"/>
  <p:tag name="KSO_WM_TEMPLATE_CATEGORY" val="custom"/>
  <p:tag name="KSO_WM_TEMPLATE_INDEX" val="20231422"/>
  <p:tag name="KSO_WM_TEMPLATE_THUMBS_INDEX" val="1、9"/>
</p:tagLst>
</file>

<file path=ppt/tags/tag116.xml><?xml version="1.0" encoding="utf-8"?>
<p:tagLst xmlns:p="http://schemas.openxmlformats.org/presentationml/2006/main">
  <p:tag name="KSO_WM_UNIT_INDEX" val="5"/>
  <p:tag name="KSO_WM_UNIT_TYPE" val="f"/>
  <p:tag name="KSO_WM_UNIT_SUBTYPE" val="g"/>
  <p:tag name="KSO_WM_BEAUTIFY_FLAG" val="#wm#"/>
</p:tagLst>
</file>

<file path=ppt/tags/tag117.xml><?xml version="1.0" encoding="utf-8"?>
<p:tagLst xmlns:p="http://schemas.openxmlformats.org/presentationml/2006/main">
  <p:tag name="KSO_WM_UNIT_TYPE" val="a"/>
  <p:tag name="KSO_WM_UNIT_INDEX" val="1"/>
  <p:tag name="KSO_WM_BEAUTIFY_FLAG" val="#wm#"/>
  <p:tag name="KSO_WM_TAG_VERSION" val="3.0"/>
  <p:tag name="KSO_WM_UNIT_ID" val="custom20238648_1*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TEMPLATE_INDEX" val="20238648"/>
  <p:tag name="KSO_WM_TEMPLATE_CATEGORY" val="custom"/>
  <p:tag name="KSO_WM_UNIT_ISCONTENTSTITLE" val="0"/>
  <p:tag name="KSO_WM_UNIT_PRESET_TEXT" val="单击此处添加&#10;文档标题"/>
  <p:tag name="KSO_WM_UNIT_TEXT_TYPE" val="1"/>
</p:tagLst>
</file>

<file path=ppt/tags/tag118.xml><?xml version="1.0" encoding="utf-8"?>
<p:tagLst xmlns:p="http://schemas.openxmlformats.org/presentationml/2006/main">
  <p:tag name="KSO_WM_SLIDE_TYPE" val="title"/>
  <p:tag name="KSO_WM_TEMPLATE_SUBCATEGORY" val="29"/>
  <p:tag name="KSO_WM_TEMPLATE_COLOR_TYPE" val="0"/>
  <p:tag name="KSO_WM_TAG_VERSION" val="3.0"/>
  <p:tag name="KSO_WM_SLIDE_SUBTYPE" val="pureTxt"/>
  <p:tag name="KSO_WM_SLIDE_ITEM_CNT" val="0"/>
  <p:tag name="KSO_WM_TEMPLATE_THUMBS_INDEX" val="1、9"/>
  <p:tag name="KSO_WM_BEAUTIFY_FLAG" val="#wm#"/>
  <p:tag name="KSO_WM_TEMPLATE_INDEX" val="20238648"/>
  <p:tag name="KSO_WM_TEMPLATE_CATEGORY" val="custom"/>
  <p:tag name="KSO_WM_SLIDE_INDEX" val="1"/>
  <p:tag name="KSO_WM_SLIDE_ID" val="custom20238648_1"/>
  <p:tag name="KSO_WM_TEMPLATE_MASTER_TYPE" val="0"/>
  <p:tag name="KSO_WM_SLIDE_LAYOUT" val="a_b_f"/>
  <p:tag name="KSO_WM_SLIDE_LAYOUT_CNT" val="1_1_1"/>
  <p:tag name="KSO_WM_SLIDE_THEME_ID" val="3403893"/>
  <p:tag name="KSO_WM_SLIDE_THEME_NAME" val="科技风人工智能通用模板"/>
</p:tagLst>
</file>

<file path=ppt/tags/tag119.xml><?xml version="1.0" encoding="utf-8"?>
<p:tagLst xmlns:p="http://schemas.openxmlformats.org/presentationml/2006/main">
  <p:tag name="KSO_WM_UNIT_INDEX" val="17"/>
  <p:tag name="KSO_WM_UNIT_TYPE" val="f"/>
  <p:tag name="KSO_WM_UNIT_SUBTYPE" val="a"/>
  <p:tag name="KSO_WM_BEAUTIFY_FLAG" val="#wm#"/>
</p:tagLst>
</file>

<file path=ppt/tags/tag12.xml><?xml version="1.0" encoding="utf-8"?>
<p:tagLst xmlns:p="http://schemas.openxmlformats.org/presentationml/2006/main">
  <p:tag name="KSO_WM_UNIT_TYPE" val="i"/>
  <p:tag name="KSO_WM_UNIT_INDEX" val="5"/>
  <p:tag name="KSO_WM_BEAUTIFY_FLAG" val="#wm#"/>
  <p:tag name="KSO_WM_TAG_VERSION" val="3.0"/>
  <p:tag name="KSO_WM_UNIT_ID" val="_1*i*5"/>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20.xml><?xml version="1.0" encoding="utf-8"?>
<p:tagLst xmlns:p="http://schemas.openxmlformats.org/presentationml/2006/main">
  <p:tag name="KSO_WM_UNIT_INDEX" val="6"/>
  <p:tag name="KSO_WM_UNIT_TYPE" val="f"/>
  <p:tag name="KSO_WM_UNIT_SUBTYPE" val="a"/>
  <p:tag name="KSO_WM_BEAUTIFY_FLAG" val="#wm#"/>
</p:tagLst>
</file>

<file path=ppt/tags/tag121.xml><?xml version="1.0" encoding="utf-8"?>
<p:tagLst xmlns:p="http://schemas.openxmlformats.org/presentationml/2006/main">
  <p:tag name="KSO_WM_UNIT_INDEX" val="8"/>
  <p:tag name="KSO_WM_UNIT_TYPE" val="f"/>
  <p:tag name="KSO_WM_UNIT_SUBTYPE" val="a"/>
  <p:tag name="KSO_WM_BEAUTIFY_FLAG" val="#wm#"/>
</p:tagLst>
</file>

<file path=ppt/tags/tag122.xml><?xml version="1.0" encoding="utf-8"?>
<p:tagLst xmlns:p="http://schemas.openxmlformats.org/presentationml/2006/main">
  <p:tag name="KSO_WM_UNIT_INDEX" val="10"/>
  <p:tag name="KSO_WM_UNIT_TYPE" val="f"/>
  <p:tag name="KSO_WM_UNIT_SUBTYPE" val="a"/>
  <p:tag name="KSO_WM_BEAUTIFY_FLAG" val="#wm#"/>
</p:tagLst>
</file>

<file path=ppt/tags/tag123.xml><?xml version="1.0" encoding="utf-8"?>
<p:tagLst xmlns:p="http://schemas.openxmlformats.org/presentationml/2006/main">
  <p:tag name="KSO_WM_UNIT_INDEX" val="18"/>
  <p:tag name="KSO_WM_UNIT_TYPE" val="f"/>
  <p:tag name="KSO_WM_UNIT_SUBTYPE" val="a"/>
  <p:tag name="KSO_WM_BEAUTIFY_FLAG" val="#wm#"/>
</p:tagLst>
</file>

<file path=ppt/tags/tag124.xml><?xml version="1.0" encoding="utf-8"?>
<p:tagLst xmlns:p="http://schemas.openxmlformats.org/presentationml/2006/main">
  <p:tag name="KSO_WM_UNIT_INDEX" val="14"/>
  <p:tag name="KSO_WM_UNIT_TYPE" val="f"/>
  <p:tag name="KSO_WM_UNIT_SUBTYPE" val="a"/>
  <p:tag name="KSO_WM_BEAUTIFY_FLAG" val="#wm#"/>
</p:tagLst>
</file>

<file path=ppt/tags/tag125.xml><?xml version="1.0" encoding="utf-8"?>
<p:tagLst xmlns:p="http://schemas.openxmlformats.org/presentationml/2006/main">
  <p:tag name="KSO_WM_UNIT_INDEX" val="16"/>
  <p:tag name="KSO_WM_UNIT_TYPE" val="f"/>
  <p:tag name="KSO_WM_UNIT_SUBTYPE" val="a"/>
  <p:tag name="KSO_WM_BEAUTIFY_FLAG" val="#wm#"/>
</p:tagLst>
</file>

<file path=ppt/tags/tag126.xml><?xml version="1.0" encoding="utf-8"?>
<p:tagLst xmlns:p="http://schemas.openxmlformats.org/presentationml/2006/main">
  <p:tag name="KSO_WM_UNIT_INDEX" val="12"/>
  <p:tag name="KSO_WM_UNIT_TYPE" val="f"/>
  <p:tag name="KSO_WM_UNIT_SUBTYPE" val="a"/>
  <p:tag name="KSO_WM_BEAUTIFY_FLAG" val="#wm#"/>
</p:tagLst>
</file>

<file path=ppt/tags/tag127.xml><?xml version="1.0" encoding="utf-8"?>
<p:tagLst xmlns:p="http://schemas.openxmlformats.org/presentationml/2006/main">
  <p:tag name="KSO_WM_UNIT_INDEX" val="3"/>
  <p:tag name="KSO_WM_UNIT_TYPE" val="f"/>
  <p:tag name="KSO_WM_UNIT_SUBTYPE" val="a"/>
  <p:tag name="KSO_WM_BEAUTIFY_FLAG" val="#wm#"/>
</p:tagLst>
</file>

<file path=ppt/tags/tag128.xml><?xml version="1.0" encoding="utf-8"?>
<p:tagLst xmlns:p="http://schemas.openxmlformats.org/presentationml/2006/main">
  <p:tag name="KSO_WM_UNIT_PIC_EFFECT" val="1"/>
</p:tagLst>
</file>

<file path=ppt/tags/tag129.xml><?xml version="1.0" encoding="utf-8"?>
<p:tagLst xmlns:p="http://schemas.openxmlformats.org/presentationml/2006/main">
  <p:tag name="KSO_WM_BEAUTIFY_FLAG" val="#wm#"/>
  <p:tag name="KSO_WM_UNIT_HIGHLIGHT" val="0"/>
  <p:tag name="KSO_WM_UNIT_COMPATIBLE" val="0"/>
  <p:tag name="KSO_WM_UNIT_DIAGRAM_ISNUMVISUAL" val="0"/>
  <p:tag name="KSO_WM_UNIT_DIAGRAM_ISREFERUNIT" val="0"/>
  <p:tag name="KSO_WM_UNIT_TYPE" val="i"/>
  <p:tag name="KSO_WM_UNIT_INDEX" val="1"/>
  <p:tag name="KSO_WM_UNIT_ID" val="custom20238548_1*i*1"/>
  <p:tag name="KSO_WM_TEMPLATE_CATEGORY" val="custom"/>
  <p:tag name="KSO_WM_TEMPLATE_INDEX" val="20238548"/>
  <p:tag name="KSO_WM_UNIT_LAYERLEVEL" val="1"/>
  <p:tag name="KSO_WM_TAG_VERSION" val="3.0"/>
  <p:tag name="KSO_WM_UNIT_PIC_EFFECT" val="1"/>
</p:tagLst>
</file>

<file path=ppt/tags/tag13.xml><?xml version="1.0" encoding="utf-8"?>
<p:tagLst xmlns:p="http://schemas.openxmlformats.org/presentationml/2006/main">
  <p:tag name="KSO_WM_UNIT_TYPE" val="i"/>
  <p:tag name="KSO_WM_UNIT_INDEX" val="6"/>
  <p:tag name="KSO_WM_BEAUTIFY_FLAG" val="#wm#"/>
  <p:tag name="KSO_WM_TAG_VERSION" val="3.0"/>
  <p:tag name="KSO_WM_UNIT_ID" val="_1*i*6"/>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30.xml><?xml version="1.0" encoding="utf-8"?>
<p:tagLst xmlns:p="http://schemas.openxmlformats.org/presentationml/2006/main">
  <p:tag name="KSO_WM_BEAUTIFY_FLAG" val="#wm#"/>
  <p:tag name="KSO_WM_UNIT_VALUE" val="2011*1287"/>
  <p:tag name="KSO_WM_UNIT_HIGHLIGHT" val="0"/>
  <p:tag name="KSO_WM_UNIT_COMPATIBLE" val="0"/>
  <p:tag name="KSO_WM_UNIT_DIAGRAM_ISNUMVISUAL" val="0"/>
  <p:tag name="KSO_WM_UNIT_DIAGRAM_ISREFERUNIT" val="0"/>
  <p:tag name="KSO_WM_UNIT_TYPE" val="d"/>
  <p:tag name="KSO_WM_UNIT_INDEX" val="1"/>
  <p:tag name="KSO_WM_UNIT_ID" val="custom20238548_1*d*1"/>
  <p:tag name="KSO_WM_TEMPLATE_CATEGORY" val="custom"/>
  <p:tag name="KSO_WM_TEMPLATE_INDEX" val="20238548"/>
  <p:tag name="KSO_WM_UNIT_LAYERLEVEL" val="1"/>
  <p:tag name="KSO_WM_TAG_VERSION" val="3.0"/>
  <p:tag name="KSO_WM_UNIT_PIC_EFFECT" val="1"/>
</p:tagLst>
</file>

<file path=ppt/tags/tag131.xml><?xml version="1.0" encoding="utf-8"?>
<p:tagLst xmlns:p="http://schemas.openxmlformats.org/presentationml/2006/main">
  <p:tag name="KSO_WM_UNIT_INDEX" val="2"/>
  <p:tag name="KSO_WM_UNIT_TYPE" val="a"/>
  <p:tag name="KSO_WM_BEAUTIFY_FLAG" val="#wm#"/>
</p:tagLst>
</file>

<file path=ppt/tags/tag132.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33.xml><?xml version="1.0" encoding="utf-8"?>
<p:tagLst xmlns:p="http://schemas.openxmlformats.org/presentationml/2006/main">
  <p:tag name="THINKCELLSHAPEDONOTDELETE" val="thinkcellActiveDocDoNotDelete"/>
</p:tagLst>
</file>

<file path=ppt/tags/tag134.xml><?xml version="1.0" encoding="utf-8"?>
<p:tagLst xmlns:p="http://schemas.openxmlformats.org/presentationml/2006/main">
  <p:tag name="KSO_WM_UNIT_INDEX" val="22"/>
  <p:tag name="KSO_WM_UNIT_TYPE" val="i"/>
  <p:tag name="KSO_WM_BEAUTIFY_FLAG" val="#wm#"/>
</p:tagLst>
</file>

<file path=ppt/tags/tag135.xml><?xml version="1.0" encoding="utf-8"?>
<p:tagLst xmlns:p="http://schemas.openxmlformats.org/presentationml/2006/main">
  <p:tag name="KSO_WM_DIAGRAM_VIRTUALLY_FRAME" val="{&quot;height&quot;:226.83763779527567,&quot;left&quot;:18,&quot;top&quot;:181.59362204724408,&quot;width&quot;:684}"/>
  <p:tag name="KSO_WM_UNIT_INDEX" val="10"/>
  <p:tag name="KSO_WM_UNIT_TYPE" val="i"/>
  <p:tag name="KSO_WM_BEAUTIFY_FLAG" val="#wm#"/>
</p:tagLst>
</file>

<file path=ppt/tags/tag136.xml><?xml version="1.0" encoding="utf-8"?>
<p:tagLst xmlns:p="http://schemas.openxmlformats.org/presentationml/2006/main">
  <p:tag name="KSO_WM_DIAGRAM_VIRTUALLY_FRAME" val="{&quot;height&quot;:226.83763779527567,&quot;left&quot;:18,&quot;top&quot;:181.59362204724408,&quot;width&quot;:684}"/>
  <p:tag name="KSO_WM_UNIT_INDEX" val="4"/>
  <p:tag name="KSO_WM_UNIT_TYPE" val="i"/>
  <p:tag name="KSO_WM_BEAUTIFY_FLAG" val="#wm#"/>
</p:tagLst>
</file>

<file path=ppt/tags/tag137.xml><?xml version="1.0" encoding="utf-8"?>
<p:tagLst xmlns:p="http://schemas.openxmlformats.org/presentationml/2006/main">
  <p:tag name="KSO_WM_DIAGRAM_VIRTUALLY_FRAME" val="{&quot;height&quot;:226.83763779527567,&quot;left&quot;:18,&quot;top&quot;:181.59362204724408,&quot;width&quot;:684}"/>
  <p:tag name="KSO_WM_UNIT_INDEX" val="5"/>
  <p:tag name="KSO_WM_UNIT_TYPE" val="i"/>
  <p:tag name="KSO_WM_BEAUTIFY_FLAG" val="#wm#"/>
</p:tagLst>
</file>

<file path=ppt/tags/tag138.xml><?xml version="1.0" encoding="utf-8"?>
<p:tagLst xmlns:p="http://schemas.openxmlformats.org/presentationml/2006/main">
  <p:tag name="KSO_WM_DIAGRAM_VIRTUALLY_FRAME" val="{&quot;height&quot;:226.83763779527567,&quot;left&quot;:18,&quot;top&quot;:181.59362204724408,&quot;width&quot;:684}"/>
  <p:tag name="KSO_WM_UNIT_INDEX" val="6"/>
  <p:tag name="KSO_WM_UNIT_TYPE" val="i"/>
  <p:tag name="KSO_WM_BEAUTIFY_FLAG" val="#wm#"/>
</p:tagLst>
</file>

<file path=ppt/tags/tag139.xml><?xml version="1.0" encoding="utf-8"?>
<p:tagLst xmlns:p="http://schemas.openxmlformats.org/presentationml/2006/main">
  <p:tag name="KSO_WM_DIAGRAM_VIRTUALLY_FRAME" val="{&quot;height&quot;:226.83763779527567,&quot;left&quot;:18,&quot;top&quot;:181.59362204724408,&quot;width&quot;:684}"/>
</p:tagLst>
</file>

<file path=ppt/tags/tag14.xml><?xml version="1.0" encoding="utf-8"?>
<p:tagLst xmlns:p="http://schemas.openxmlformats.org/presentationml/2006/main">
  <p:tag name="KSO_WM_UNIT_TYPE" val="i"/>
  <p:tag name="KSO_WM_UNIT_INDEX" val="7"/>
  <p:tag name="KSO_WM_BEAUTIFY_FLAG" val="#wm#"/>
  <p:tag name="KSO_WM_TAG_VERSION" val="3.0"/>
  <p:tag name="KSO_WM_UNIT_ID" val="_1*i*7"/>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40.xml><?xml version="1.0" encoding="utf-8"?>
<p:tagLst xmlns:p="http://schemas.openxmlformats.org/presentationml/2006/main">
  <p:tag name="KSO_WM_DIAGRAM_VIRTUALLY_FRAME" val="{&quot;height&quot;:226.83763779527567,&quot;left&quot;:18,&quot;top&quot;:181.59362204724408,&quot;width&quot;:684}"/>
  <p:tag name="KSO_WM_UNIT_INDEX" val="11"/>
  <p:tag name="KSO_WM_UNIT_TYPE" val="i"/>
  <p:tag name="KSO_WM_BEAUTIFY_FLAG" val="#wm#"/>
</p:tagLst>
</file>

<file path=ppt/tags/tag141.xml><?xml version="1.0" encoding="utf-8"?>
<p:tagLst xmlns:p="http://schemas.openxmlformats.org/presentationml/2006/main">
  <p:tag name="KSO_WM_DIAGRAM_VIRTUALLY_FRAME" val="{&quot;height&quot;:226.83763779527567,&quot;left&quot;:18,&quot;top&quot;:181.59362204724408,&quot;width&quot;:684}"/>
  <p:tag name="KSO_WM_UNIT_INDEX" val="12"/>
  <p:tag name="KSO_WM_UNIT_TYPE" val="i"/>
  <p:tag name="KSO_WM_BEAUTIFY_FLAG" val="#wm#"/>
</p:tagLst>
</file>

<file path=ppt/tags/tag142.xml><?xml version="1.0" encoding="utf-8"?>
<p:tagLst xmlns:p="http://schemas.openxmlformats.org/presentationml/2006/main">
  <p:tag name="KSO_WM_DIAGRAM_VIRTUALLY_FRAME" val="{&quot;height&quot;:226.83763779527567,&quot;left&quot;:18,&quot;top&quot;:181.59362204724408,&quot;width&quot;:684}"/>
  <p:tag name="KSO_WM_UNIT_INDEX" val="13"/>
  <p:tag name="KSO_WM_UNIT_TYPE" val="f"/>
  <p:tag name="KSO_WM_UNIT_SUBTYPE" val="a"/>
  <p:tag name="KSO_WM_BEAUTIFY_FLAG" val="#wm#"/>
</p:tagLst>
</file>

<file path=ppt/tags/tag143.xml><?xml version="1.0" encoding="utf-8"?>
<p:tagLst xmlns:p="http://schemas.openxmlformats.org/presentationml/2006/main">
  <p:tag name="KSO_WM_DIAGRAM_VIRTUALLY_FRAME" val="{&quot;height&quot;:226.83763779527567,&quot;left&quot;:18,&quot;top&quot;:181.59362204724408,&quot;width&quot;:684}"/>
  <p:tag name="KSO_WM_UNIT_INDEX" val="14"/>
  <p:tag name="KSO_WM_UNIT_TYPE" val="f"/>
  <p:tag name="KSO_WM_UNIT_SUBTYPE" val="a"/>
  <p:tag name="KSO_WM_BEAUTIFY_FLAG" val="#wm#"/>
</p:tagLst>
</file>

<file path=ppt/tags/tag144.xml><?xml version="1.0" encoding="utf-8"?>
<p:tagLst xmlns:p="http://schemas.openxmlformats.org/presentationml/2006/main">
  <p:tag name="KSO_WM_DIAGRAM_VIRTUALLY_FRAME" val="{&quot;height&quot;:226.83763779527567,&quot;left&quot;:18,&quot;top&quot;:181.59362204724408,&quot;width&quot;:684}"/>
  <p:tag name="KSO_WM_UNIT_INDEX" val="15"/>
  <p:tag name="KSO_WM_UNIT_TYPE" val="f"/>
  <p:tag name="KSO_WM_UNIT_SUBTYPE" val="a"/>
  <p:tag name="KSO_WM_BEAUTIFY_FLAG" val="#wm#"/>
</p:tagLst>
</file>

<file path=ppt/tags/tag145.xml><?xml version="1.0" encoding="utf-8"?>
<p:tagLst xmlns:p="http://schemas.openxmlformats.org/presentationml/2006/main">
  <p:tag name="KSO_WM_DIAGRAM_VIRTUALLY_FRAME" val="{&quot;height&quot;:226.83763779527567,&quot;left&quot;:18,&quot;top&quot;:181.59362204724408,&quot;width&quot;:684}"/>
  <p:tag name="KSO_WM_UNIT_INDEX" val="19"/>
  <p:tag name="KSO_WM_UNIT_TYPE" val="i"/>
  <p:tag name="KSO_WM_BEAUTIFY_FLAG" val="#wm#"/>
</p:tagLst>
</file>

<file path=ppt/tags/tag146.xml><?xml version="1.0" encoding="utf-8"?>
<p:tagLst xmlns:p="http://schemas.openxmlformats.org/presentationml/2006/main">
  <p:tag name="KSO_WM_DIAGRAM_VIRTUALLY_FRAME" val="{&quot;height&quot;:226.83763779527567,&quot;left&quot;:18,&quot;top&quot;:181.59362204724408,&quot;width&quot;:684}"/>
  <p:tag name="KSO_WM_UNIT_INDEX" val="20"/>
  <p:tag name="KSO_WM_UNIT_TYPE" val="i"/>
  <p:tag name="KSO_WM_BEAUTIFY_FLAG" val="#wm#"/>
</p:tagLst>
</file>

<file path=ppt/tags/tag147.xml><?xml version="1.0" encoding="utf-8"?>
<p:tagLst xmlns:p="http://schemas.openxmlformats.org/presentationml/2006/main">
  <p:tag name="KSO_WM_DIAGRAM_VIRTUALLY_FRAME" val="{&quot;height&quot;:226.83763779527567,&quot;left&quot;:18,&quot;top&quot;:181.59362204724408,&quot;width&quot;:684}"/>
  <p:tag name="KSO_WM_UNIT_INDEX" val="21"/>
  <p:tag name="KSO_WM_UNIT_TYPE" val="i"/>
  <p:tag name="KSO_WM_BEAUTIFY_FLAG" val="#wm#"/>
</p:tagLst>
</file>

<file path=ppt/tags/tag148.xml><?xml version="1.0" encoding="utf-8"?>
<p:tagLst xmlns:p="http://schemas.openxmlformats.org/presentationml/2006/main">
  <p:tag name="KSO_WM_DIAGRAM_VIRTUALLY_FRAME" val="{&quot;height&quot;:226.83763779527567,&quot;left&quot;:18,&quot;top&quot;:181.59362204724408,&quot;width&quot;:684}"/>
  <p:tag name="KSO_WM_UNIT_INDEX" val="9"/>
  <p:tag name="KSO_WM_UNIT_TYPE" val="i"/>
  <p:tag name="KSO_WM_BEAUTIFY_FLAG" val="#wm#"/>
</p:tagLst>
</file>

<file path=ppt/tags/tag149.xml><?xml version="1.0" encoding="utf-8"?>
<p:tagLst xmlns:p="http://schemas.openxmlformats.org/presentationml/2006/main">
  <p:tag name="KSO_WM_DIAGRAM_VIRTUALLY_FRAME" val="{&quot;height&quot;:226.83763779527567,&quot;left&quot;:18,&quot;top&quot;:181.59362204724408,&quot;width&quot;:684}"/>
  <p:tag name="KSO_WM_UNIT_INDEX" val="16"/>
  <p:tag name="KSO_WM_UNIT_TYPE" val="f"/>
  <p:tag name="KSO_WM_UNIT_SUBTYPE" val="a"/>
  <p:tag name="KSO_WM_BEAUTIFY_FLAG" val="#wm#"/>
</p:tagLst>
</file>

<file path=ppt/tags/tag15.xml><?xml version="1.0" encoding="utf-8"?>
<p:tagLst xmlns:p="http://schemas.openxmlformats.org/presentationml/2006/main">
  <p:tag name="KSO_WM_UNIT_TYPE" val="i"/>
  <p:tag name="KSO_WM_UNIT_INDEX" val="8"/>
  <p:tag name="KSO_WM_BEAUTIFY_FLAG" val="#wm#"/>
  <p:tag name="KSO_WM_TAG_VERSION" val="3.0"/>
  <p:tag name="KSO_WM_UNIT_ID" val="_1*i*8"/>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50.xml><?xml version="1.0" encoding="utf-8"?>
<p:tagLst xmlns:p="http://schemas.openxmlformats.org/presentationml/2006/main">
  <p:tag name="KSO_WM_DIAGRAM_VIRTUALLY_FRAME" val="{&quot;height&quot;:226.83763779527567,&quot;left&quot;:18,&quot;top&quot;:181.59362204724408,&quot;width&quot;:684}"/>
  <p:tag name="KSO_WM_UNIT_INDEX" val="17"/>
  <p:tag name="KSO_WM_UNIT_TYPE" val="f"/>
  <p:tag name="KSO_WM_UNIT_SUBTYPE" val="a"/>
  <p:tag name="KSO_WM_BEAUTIFY_FLAG" val="#wm#"/>
</p:tagLst>
</file>

<file path=ppt/tags/tag151.xml><?xml version="1.0" encoding="utf-8"?>
<p:tagLst xmlns:p="http://schemas.openxmlformats.org/presentationml/2006/main">
  <p:tag name="KSO_WM_DIAGRAM_VIRTUALLY_FRAME" val="{&quot;height&quot;:226.83763779527567,&quot;left&quot;:18,&quot;top&quot;:181.59362204724408,&quot;width&quot;:684}"/>
  <p:tag name="KSO_WM_UNIT_INDEX" val="18"/>
  <p:tag name="KSO_WM_UNIT_TYPE" val="f"/>
  <p:tag name="KSO_WM_UNIT_SUBTYPE" val="a"/>
  <p:tag name="KSO_WM_BEAUTIFY_FLAG" val="#wm#"/>
</p:tagLst>
</file>

<file path=ppt/tags/tag152.xml><?xml version="1.0" encoding="utf-8"?>
<p:tagLst xmlns:p="http://schemas.openxmlformats.org/presentationml/2006/main">
  <p:tag name="KSO_WM_DIAGRAM_VIRTUALLY_FRAME" val="{&quot;height&quot;:226.83763779527567,&quot;left&quot;:18,&quot;top&quot;:181.59362204724408,&quot;width&quot;:684}"/>
  <p:tag name="KSO_WM_UNIT_INDEX" val="7"/>
  <p:tag name="KSO_WM_UNIT_TYPE" val="i"/>
  <p:tag name="KSO_WM_BEAUTIFY_FLAG" val="#wm#"/>
</p:tagLst>
</file>

<file path=ppt/tags/tag153.xml><?xml version="1.0" encoding="utf-8"?>
<p:tagLst xmlns:p="http://schemas.openxmlformats.org/presentationml/2006/main">
  <p:tag name="KSO_WM_DIAGRAM_VIRTUALLY_FRAME" val="{&quot;height&quot;:226.83763779527567,&quot;left&quot;:18,&quot;top&quot;:181.59362204724408,&quot;width&quot;:684}"/>
  <p:tag name="KSO_WM_UNIT_INDEX" val="8"/>
  <p:tag name="KSO_WM_UNIT_TYPE" val="i"/>
  <p:tag name="KSO_WM_BEAUTIFY_FLAG" val="#wm#"/>
</p:tagLst>
</file>

<file path=ppt/tags/tag154.xml><?xml version="1.0" encoding="utf-8"?>
<p:tagLst xmlns:p="http://schemas.openxmlformats.org/presentationml/2006/main">
  <p:tag name="KSO_WM_UNIT_INDEX" val="3"/>
  <p:tag name="KSO_WM_UNIT_TYPE" val="f"/>
  <p:tag name="KSO_WM_UNIT_SUBTYPE" val="a"/>
  <p:tag name="KSO_WM_BEAUTIFY_FLAG" val="#wm#"/>
</p:tagLst>
</file>

<file path=ppt/tags/tag155.xml><?xml version="1.0" encoding="utf-8"?>
<p:tagLst xmlns:p="http://schemas.openxmlformats.org/presentationml/2006/main">
  <p:tag name="KSO_WM_BEAUTIFY_FLAG" val="#wm#"/>
  <p:tag name="KSO_WM_UNIT_INDEX" val="2"/>
  <p:tag name="KSO_WM_UNIT_TYPE" val="a"/>
</p:tagLst>
</file>

<file path=ppt/tags/tag156.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57.xml><?xml version="1.0" encoding="utf-8"?>
<p:tagLst xmlns:p="http://schemas.openxmlformats.org/presentationml/2006/main">
  <p:tag name="THINKCELLSHAPEDONOTDELETE" val="thinkcellActiveDocDoNotDelete"/>
</p:tagLst>
</file>

<file path=ppt/tags/tag158.xml><?xml version="1.0" encoding="utf-8"?>
<p:tagLst xmlns:p="http://schemas.openxmlformats.org/presentationml/2006/main">
  <p:tag name="KSO_WM_UNIT_INDEX" val="5"/>
  <p:tag name="KSO_WM_UNIT_TYPE" val="i"/>
  <p:tag name="KSO_WM_BEAUTIFY_FLAG" val="#wm#"/>
</p:tagLst>
</file>

<file path=ppt/tags/tag159.xml><?xml version="1.0" encoding="utf-8"?>
<p:tagLst xmlns:p="http://schemas.openxmlformats.org/presentationml/2006/main">
  <p:tag name="KSO_WM_BEAUTIFY_FLAG" val="#wm#"/>
  <p:tag name="KSO_WM_UNIT_INDEX" val="6"/>
  <p:tag name="KSO_WM_UNIT_TYPE" val="f"/>
  <p:tag name="KSO_WM_UNIT_SUBTYPE" val="a"/>
</p:tagLst>
</file>

<file path=ppt/tags/tag16.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2*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29"/>
</p:tagLst>
</file>

<file path=ppt/tags/tag160.xml><?xml version="1.0" encoding="utf-8"?>
<p:tagLst xmlns:p="http://schemas.openxmlformats.org/presentationml/2006/main">
  <p:tag name="KSO_WM_BEAUTIFY_FLAG" val="#wm#"/>
  <p:tag name="KSO_WM_UNIT_INDEX" val="7"/>
  <p:tag name="KSO_WM_UNIT_TYPE" val="f"/>
  <p:tag name="KSO_WM_UNIT_SUBTYPE" val="a"/>
</p:tagLst>
</file>

<file path=ppt/tags/tag161.xml><?xml version="1.0" encoding="utf-8"?>
<p:tagLst xmlns:p="http://schemas.openxmlformats.org/presentationml/2006/main">
  <p:tag name="KSO_WM_BEAUTIFY_FLAG" val="#wm#"/>
  <p:tag name="KSO_WM_UNIT_INDEX" val="2"/>
  <p:tag name="KSO_WM_UNIT_TYPE" val="a"/>
</p:tagLst>
</file>

<file path=ppt/tags/tag162.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63.xml><?xml version="1.0" encoding="utf-8"?>
<p:tagLst xmlns:p="http://schemas.openxmlformats.org/presentationml/2006/main">
  <p:tag name="THINKCELLSHAPEDONOTDELETE" val="thinkcellActiveDocDoNotDelete"/>
</p:tagLst>
</file>

<file path=ppt/tags/tag164.xml><?xml version="1.0" encoding="utf-8"?>
<p:tagLst xmlns:p="http://schemas.openxmlformats.org/presentationml/2006/main">
  <p:tag name="KSO_WM_UNIT_INDEX" val="11"/>
  <p:tag name="KSO_WM_UNIT_TYPE" val="f"/>
  <p:tag name="KSO_WM_UNIT_SUBTYPE" val="a"/>
  <p:tag name="KSO_WM_BEAUTIFY_FLAG" val="#wm#"/>
</p:tagLst>
</file>

<file path=ppt/tags/tag165.xml><?xml version="1.0" encoding="utf-8"?>
<p:tagLst xmlns:p="http://schemas.openxmlformats.org/presentationml/2006/main">
  <p:tag name="KSO_WM_BEAUTIFY_FLAG" val="#wm#"/>
  <p:tag name="KSO_WM_UNIT_INDEX" val="4"/>
  <p:tag name="KSO_WM_UNIT_TYPE" val="f"/>
  <p:tag name="KSO_WM_UNIT_SUBTYPE" val="a"/>
</p:tagLst>
</file>

<file path=ppt/tags/tag166.xml><?xml version="1.0" encoding="utf-8"?>
<p:tagLst xmlns:p="http://schemas.openxmlformats.org/presentationml/2006/main">
  <p:tag name="KSO_WM_BEAUTIFY_FLAG" val="#wm#"/>
  <p:tag name="KSO_WM_UNIT_INDEX" val="13"/>
  <p:tag name="KSO_WM_UNIT_TYPE" val="f"/>
  <p:tag name="KSO_WM_UNIT_SUBTYPE" val="a"/>
</p:tagLst>
</file>

<file path=ppt/tags/tag167.xml><?xml version="1.0" encoding="utf-8"?>
<p:tagLst xmlns:p="http://schemas.openxmlformats.org/presentationml/2006/main">
  <p:tag name="KSO_WM_BEAUTIFY_FLAG" val="#wm#"/>
  <p:tag name="KSO_WM_UNIT_INDEX" val="6"/>
  <p:tag name="KSO_WM_UNIT_TYPE" val="j"/>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BEAUTIFY_FLAG" val="#wm#"/>
  <p:tag name="KSO_WM_UNIT_INDEX" val="8"/>
  <p:tag name="KSO_WM_UNIT_TYPE" val="j"/>
</p:tagLst>
</file>

<file path=ppt/tags/tag17.xml><?xml version="1.0" encoding="utf-8"?>
<p:tagLst xmlns:p="http://schemas.openxmlformats.org/presentationml/2006/main">
  <p:tag name="KSO_WM_UNIT_TYPE" val="f"/>
  <p:tag name="KSO_WM_UNIT_SUBTYPE" val="a"/>
  <p:tag name="KSO_WM_UNIT_INDEX" val="1"/>
  <p:tag name="KSO_WM_BEAUTIFY_FLAG" val="#wm#"/>
  <p:tag name="KSO_WM_TAG_VERSION" val="3.0"/>
  <p:tag name="KSO_WM_UNIT_PRESET_TEXT" val="单击此处编辑母版文本样式&#10;第二级&#10;第三级&#10;第四级&#10;第五级"/>
  <p:tag name="KSO_WM_UNIT_ID" val="_2*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 name="KSO_WM_UNIT_VALUE" val="340"/>
</p:tagLst>
</file>

<file path=ppt/tags/tag170.xml><?xml version="1.0" encoding="utf-8"?>
<p:tagLst xmlns:p="http://schemas.openxmlformats.org/presentationml/2006/main">
  <p:tag name="KSO_WM_BEAUTIFY_FLAG" val="#wm#"/>
  <p:tag name="KSO_WM_UNIT_INDEX" val="9"/>
  <p:tag name="KSO_WM_UNIT_TYPE" val="f"/>
  <p:tag name="KSO_WM_UNIT_SUBTYPE" val="a"/>
</p:tagLst>
</file>

<file path=ppt/tags/tag171.xml><?xml version="1.0" encoding="utf-8"?>
<p:tagLst xmlns:p="http://schemas.openxmlformats.org/presentationml/2006/main">
  <p:tag name="KSO_WM_BEAUTIFY_FLAG" val="#wm#"/>
  <p:tag name="KSO_WM_UNIT_INDEX" val="7"/>
  <p:tag name="KSO_WM_UNIT_TYPE" val="j"/>
</p:tagLst>
</file>

<file path=ppt/tags/tag172.xml><?xml version="1.0" encoding="utf-8"?>
<p:tagLst xmlns:p="http://schemas.openxmlformats.org/presentationml/2006/main">
  <p:tag name="KSO_WM_BEAUTIFY_FLAG" val="#wm#"/>
  <p:tag name="KSO_WM_UNIT_INDEX" val="2"/>
  <p:tag name="KSO_WM_UNIT_TYPE" val="a"/>
</p:tagLst>
</file>

<file path=ppt/tags/tag173.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74.xml><?xml version="1.0" encoding="utf-8"?>
<p:tagLst xmlns:p="http://schemas.openxmlformats.org/presentationml/2006/main">
  <p:tag name="KSO_WM_UNIT_INDEX" val="4"/>
  <p:tag name="KSO_WM_UNIT_TYPE" val="j"/>
  <p:tag name="KSO_WM_BEAUTIFY_FLAG" val="#wm#"/>
</p:tagLst>
</file>

<file path=ppt/tags/tag175.xml><?xml version="1.0" encoding="utf-8"?>
<p:tagLst xmlns:p="http://schemas.openxmlformats.org/presentationml/2006/main">
  <p:tag name="KSO_WM_UNIT_INDEX" val="3"/>
  <p:tag name="KSO_WM_UNIT_TYPE" val="j"/>
  <p:tag name="KSO_WM_BEAUTIFY_FLAG" val="#wm#"/>
</p:tagLst>
</file>

<file path=ppt/tags/tag176.xml><?xml version="1.0" encoding="utf-8"?>
<p:tagLst xmlns:p="http://schemas.openxmlformats.org/presentationml/2006/main">
  <p:tag name="KSO_WM_UNIT_INDEX" val="2"/>
  <p:tag name="KSO_WM_UNIT_TYPE" val="j"/>
  <p:tag name="KSO_WM_BEAUTIFY_FLAG" val="#wm#"/>
</p:tagLst>
</file>

<file path=ppt/tags/tag177.xml><?xml version="1.0" encoding="utf-8"?>
<p:tagLst xmlns:p="http://schemas.openxmlformats.org/presentationml/2006/main">
  <p:tag name="KSO_WM_UNIT_INDEX" val="5"/>
  <p:tag name="KSO_WM_UNIT_TYPE" val="f"/>
  <p:tag name="KSO_WM_UNIT_SUBTYPE" val="a"/>
  <p:tag name="KSO_WM_BEAUTIFY_FLAG" val="#wm#"/>
</p:tagLst>
</file>

<file path=ppt/tags/tag178.xml><?xml version="1.0" encoding="utf-8"?>
<p:tagLst xmlns:p="http://schemas.openxmlformats.org/presentationml/2006/main">
  <p:tag name="KSO_WM_UNIT_INDEX" val="13"/>
  <p:tag name="KSO_WM_UNIT_TYPE" val="f"/>
  <p:tag name="KSO_WM_BEAUTIFY_FLAG" val="#wm#"/>
  <p:tag name="KSO_WM_UNIT_SUBTYPE" val="a"/>
</p:tagLst>
</file>

<file path=ppt/tags/tag179.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8.xml><?xml version="1.0" encoding="utf-8"?>
<p:tagLst xmlns:p="http://schemas.openxmlformats.org/presentationml/2006/main">
  <p:tag name="KSO_WM_UNIT_ID" val="_2**"/>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80.xml><?xml version="1.0" encoding="utf-8"?>
<p:tagLst xmlns:p="http://schemas.openxmlformats.org/presentationml/2006/main">
  <p:tag name="TABLE_ENDDRAG_ORIGIN_RECT" val="717*421"/>
  <p:tag name="TABLE_ENDDRAG_RECT" val="2*116*717*421"/>
</p:tagLst>
</file>

<file path=ppt/tags/tag181.xml><?xml version="1.0" encoding="utf-8"?>
<p:tagLst xmlns:p="http://schemas.openxmlformats.org/presentationml/2006/main">
  <p:tag name="KSO_WM_UNIT_INDEX" val="3"/>
  <p:tag name="KSO_WM_UNIT_TYPE" val="j"/>
  <p:tag name="KSO_WM_BEAUTIFY_FLAG" val="#wm#"/>
</p:tagLst>
</file>

<file path=ppt/tags/tag182.xml><?xml version="1.0" encoding="utf-8"?>
<p:tagLst xmlns:p="http://schemas.openxmlformats.org/presentationml/2006/main">
  <p:tag name="KSO_WM_UNIT_INDEX" val="4"/>
  <p:tag name="KSO_WM_UNIT_TYPE" val="j"/>
  <p:tag name="KSO_WM_BEAUTIFY_FLAG" val="#wm#"/>
</p:tagLst>
</file>

<file path=ppt/tags/tag183.xml><?xml version="1.0" encoding="utf-8"?>
<p:tagLst xmlns:p="http://schemas.openxmlformats.org/presentationml/2006/main">
  <p:tag name="KSO_WM_UNIT_INDEX" val="6"/>
  <p:tag name="KSO_WM_UNIT_TYPE" val="i"/>
  <p:tag name="KSO_WM_BEAUTIFY_FLAG" val="#wm#"/>
</p:tagLst>
</file>

<file path=ppt/tags/tag184.xml><?xml version="1.0" encoding="utf-8"?>
<p:tagLst xmlns:p="http://schemas.openxmlformats.org/presentationml/2006/main">
  <p:tag name="KSO_WM_UNIT_INDEX" val="2"/>
  <p:tag name="KSO_WM_UNIT_TYPE" val="j"/>
  <p:tag name="KSO_WM_BEAUTIFY_FLAG" val="#wm#"/>
</p:tagLst>
</file>

<file path=ppt/tags/tag185.xml><?xml version="1.0" encoding="utf-8"?>
<p:tagLst xmlns:p="http://schemas.openxmlformats.org/presentationml/2006/main">
  <p:tag name="KSO_WM_UNIT_INDEX" val="5"/>
  <p:tag name="KSO_WM_UNIT_TYPE" val="f"/>
  <p:tag name="KSO_WM_UNIT_SUBTYPE" val="a"/>
  <p:tag name="KSO_WM_BEAUTIFY_FLAG" val="#wm#"/>
</p:tagLst>
</file>

<file path=ppt/tags/tag186.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87.xml><?xml version="1.0" encoding="utf-8"?>
<p:tagLst xmlns:p="http://schemas.openxmlformats.org/presentationml/2006/main">
  <p:tag name="KSO_WM_UNIT_INDEX" val="3"/>
  <p:tag name="KSO_WM_UNIT_TYPE" val="f"/>
  <p:tag name="KSO_WM_BEAUTIFY_FLAG" val="#wm#"/>
  <p:tag name="KSO_WM_UNIT_SUBTYPE" val="a"/>
</p:tagLst>
</file>

<file path=ppt/tags/tag188.xml><?xml version="1.0" encoding="utf-8"?>
<p:tagLst xmlns:p="http://schemas.openxmlformats.org/presentationml/2006/main">
  <p:tag name="KSO_WM_UNIT_INDEX" val="4"/>
  <p:tag name="KSO_WM_UNIT_TYPE" val="f"/>
  <p:tag name="KSO_WM_UNIT_SUBTYPE" val="a"/>
  <p:tag name="KSO_WM_BEAUTIFY_FLAG" val="#wm#"/>
</p:tagLst>
</file>

<file path=ppt/tags/tag189.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9.xml><?xml version="1.0" encoding="utf-8"?>
<p:tagLst xmlns:p="http://schemas.openxmlformats.org/presentationml/2006/main">
  <p:tag name="KSO_WM_UNIT_ID" val="_2**"/>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190.xml><?xml version="1.0" encoding="utf-8"?>
<p:tagLst xmlns:p="http://schemas.openxmlformats.org/presentationml/2006/main">
  <p:tag name="KSO_WM_UNIT_INDEX" val="10"/>
  <p:tag name="KSO_WM_UNIT_TYPE" val="f"/>
  <p:tag name="KSO_WM_UNIT_SUBTYPE" val="a"/>
  <p:tag name="KSO_WM_BEAUTIFY_FLAG" val="#wm#"/>
</p:tagLst>
</file>

<file path=ppt/tags/tag191.xml><?xml version="1.0" encoding="utf-8"?>
<p:tagLst xmlns:p="http://schemas.openxmlformats.org/presentationml/2006/main">
  <p:tag name="KSO_WM_UNIT_INDEX" val="4"/>
  <p:tag name="KSO_WM_UNIT_TYPE" val="i"/>
  <p:tag name="KSO_WM_BEAUTIFY_FLAG" val="#wm#"/>
</p:tagLst>
</file>

<file path=ppt/tags/tag192.xml><?xml version="1.0" encoding="utf-8"?>
<p:tagLst xmlns:p="http://schemas.openxmlformats.org/presentationml/2006/main">
  <p:tag name="KSO_WM_BEAUTIFY_FLAG" val="#wm#"/>
  <p:tag name="KSO_WM_UNIT_VALUE" val="2312*2612"/>
  <p:tag name="KSO_WM_UNIT_HIGHLIGHT" val="0"/>
  <p:tag name="KSO_WM_UNIT_COMPATIBLE" val="0"/>
  <p:tag name="KSO_WM_UNIT_DIAGRAM_ISNUMVISUAL" val="0"/>
  <p:tag name="KSO_WM_UNIT_DIAGRAM_ISREFERUNIT" val="0"/>
  <p:tag name="KSO_WM_UNIT_TYPE" val="d"/>
  <p:tag name="KSO_WM_UNIT_INDEX" val="1"/>
  <p:tag name="KSO_WM_UNIT_ID" val="custom40479659_1*d*1"/>
  <p:tag name="KSO_WM_TEMPLATE_CATEGORY" val="custom"/>
  <p:tag name="KSO_WM_TEMPLATE_INDEX" val="40479659"/>
  <p:tag name="KSO_WM_UNIT_LAYERLEVEL" val="1"/>
  <p:tag name="KSO_WM_TAG_VERSION" val="3.0"/>
  <p:tag name="KSO_WM_UNIT_PIC_EFFECT" val="1"/>
</p:tagLst>
</file>

<file path=ppt/tags/tag193.xml><?xml version="1.0" encoding="utf-8"?>
<p:tagLst xmlns:p="http://schemas.openxmlformats.org/presentationml/2006/main">
  <p:tag name="KSO_WM_UNIT_INDEX" val="2"/>
  <p:tag name="KSO_WM_UNIT_TYPE" val="a"/>
  <p:tag name="KSO_WM_BEAUTIFY_FLAG" val="#wm#"/>
</p:tagLst>
</file>

<file path=ppt/tags/tag194.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195.xml><?xml version="1.0" encoding="utf-8"?>
<p:tagLst xmlns:p="http://schemas.openxmlformats.org/presentationml/2006/main">
  <p:tag name="KSO_WM_UNIT_INDEX" val="7"/>
  <p:tag name="KSO_WM_UNIT_TYPE" val="i"/>
  <p:tag name="KSO_WM_BEAUTIFY_FLAG" val="#wm#"/>
</p:tagLst>
</file>

<file path=ppt/tags/tag196.xml><?xml version="1.0" encoding="utf-8"?>
<p:tagLst xmlns:p="http://schemas.openxmlformats.org/presentationml/2006/main">
  <p:tag name="KSO_WM_UNIT_INDEX" val="5"/>
  <p:tag name="KSO_WM_UNIT_TYPE" val="j"/>
  <p:tag name="KSO_WM_BEAUTIFY_FLAG" val="#wm#"/>
</p:tagLst>
</file>

<file path=ppt/tags/tag197.xml><?xml version="1.0" encoding="utf-8"?>
<p:tagLst xmlns:p="http://schemas.openxmlformats.org/presentationml/2006/main">
  <p:tag name="KSO_WM_UNIT_INDEX" val="4"/>
  <p:tag name="KSO_WM_UNIT_TYPE" val="j"/>
  <p:tag name="KSO_WM_BEAUTIFY_FLAG" val="#wm#"/>
</p:tagLst>
</file>

<file path=ppt/tags/tag198.xml><?xml version="1.0" encoding="utf-8"?>
<p:tagLst xmlns:p="http://schemas.openxmlformats.org/presentationml/2006/main">
  <p:tag name="KSO_WM_UNIT_INDEX" val="6"/>
  <p:tag name="KSO_WM_UNIT_TYPE" val="f"/>
  <p:tag name="KSO_WM_UNIT_SUBTYPE" val="a"/>
  <p:tag name="KSO_WM_BEAUTIFY_FLAG" val="#wm#"/>
</p:tagLst>
</file>

<file path=ppt/tags/tag199.xml><?xml version="1.0" encoding="utf-8"?>
<p:tagLst xmlns:p="http://schemas.openxmlformats.org/presentationml/2006/main">
  <p:tag name="KSO_WM_UNIT_INDEX" val="3"/>
  <p:tag name="KSO_WM_UNIT_TYPE" val="f"/>
  <p:tag name="KSO_WM_UNIT_SUBTYPE" val="a"/>
  <p:tag name="KSO_WM_BEAUTIFY_FLAG" val="#wm#"/>
</p:tagLst>
</file>

<file path=ppt/tags/tag2.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1*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16"/>
</p:tagLst>
</file>

<file path=ppt/tags/tag20.xml><?xml version="1.0" encoding="utf-8"?>
<p:tagLst xmlns:p="http://schemas.openxmlformats.org/presentationml/2006/main">
  <p:tag name="KSO_WM_UNIT_ID" val="_2**"/>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00.xml><?xml version="1.0" encoding="utf-8"?>
<p:tagLst xmlns:p="http://schemas.openxmlformats.org/presentationml/2006/main">
  <p:tag name="KSO_WM_UNIT_INDEX" val="2"/>
  <p:tag name="KSO_WM_UNIT_TYPE" val="a"/>
  <p:tag name="KSO_WM_BEAUTIFY_FLAG" val="#wm#"/>
</p:tagLst>
</file>

<file path=ppt/tags/tag201.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02.xml><?xml version="1.0" encoding="utf-8"?>
<p:tagLst xmlns:p="http://schemas.openxmlformats.org/presentationml/2006/main">
  <p:tag name="KSO_WM_UNIT_INDEX" val="13"/>
  <p:tag name="KSO_WM_UNIT_TYPE" val="i"/>
  <p:tag name="KSO_WM_BEAUTIFY_FLAG" val="#wm#"/>
</p:tagLst>
</file>

<file path=ppt/tags/tag203.xml><?xml version="1.0" encoding="utf-8"?>
<p:tagLst xmlns:p="http://schemas.openxmlformats.org/presentationml/2006/main">
  <p:tag name="KSO_WM_UNIT_INDEX" val="3"/>
  <p:tag name="KSO_WM_UNIT_TYPE" val="j"/>
  <p:tag name="KSO_WM_BEAUTIFY_FLAG" val="#wm#"/>
</p:tagLst>
</file>

<file path=ppt/tags/tag204.xml><?xml version="1.0" encoding="utf-8"?>
<p:tagLst xmlns:p="http://schemas.openxmlformats.org/presentationml/2006/main">
  <p:tag name="KSO_WM_UNIT_INDEX" val="10"/>
  <p:tag name="KSO_WM_UNIT_TYPE" val="j"/>
  <p:tag name="KSO_WM_BEAUTIFY_FLAG" val="#wm#"/>
</p:tagLst>
</file>

<file path=ppt/tags/tag205.xml><?xml version="1.0" encoding="utf-8"?>
<p:tagLst xmlns:p="http://schemas.openxmlformats.org/presentationml/2006/main">
  <p:tag name="KSO_WM_UNIT_INDEX" val="4"/>
  <p:tag name="KSO_WM_UNIT_TYPE" val="j"/>
  <p:tag name="KSO_WM_BEAUTIFY_FLAG" val="#wm#"/>
</p:tagLst>
</file>

<file path=ppt/tags/tag206.xml><?xml version="1.0" encoding="utf-8"?>
<p:tagLst xmlns:p="http://schemas.openxmlformats.org/presentationml/2006/main">
  <p:tag name="KSO_WM_UNIT_INDEX" val="8"/>
  <p:tag name="KSO_WM_UNIT_TYPE" val="j"/>
  <p:tag name="KSO_WM_BEAUTIFY_FLAG" val="#wm#"/>
</p:tagLst>
</file>

<file path=ppt/tags/tag207.xml><?xml version="1.0" encoding="utf-8"?>
<p:tagLst xmlns:p="http://schemas.openxmlformats.org/presentationml/2006/main">
  <p:tag name="KSO_WM_UNIT_INDEX" val="9"/>
  <p:tag name="KSO_WM_UNIT_TYPE" val="j"/>
  <p:tag name="KSO_WM_BEAUTIFY_FLAG" val="#wm#"/>
</p:tagLst>
</file>

<file path=ppt/tags/tag208.xml><?xml version="1.0" encoding="utf-8"?>
<p:tagLst xmlns:p="http://schemas.openxmlformats.org/presentationml/2006/main">
  <p:tag name="KSO_WM_UNIT_INDEX" val="6"/>
  <p:tag name="KSO_WM_UNIT_TYPE" val="j"/>
  <p:tag name="KSO_WM_BEAUTIFY_FLAG" val="#wm#"/>
</p:tagLst>
</file>

<file path=ppt/tags/tag209.xml><?xml version="1.0" encoding="utf-8"?>
<p:tagLst xmlns:p="http://schemas.openxmlformats.org/presentationml/2006/main">
  <p:tag name="KSO_WM_UNIT_INDEX" val="11"/>
  <p:tag name="KSO_WM_UNIT_TYPE" val="j"/>
  <p:tag name="KSO_WM_BEAUTIFY_FLAG" val="#wm#"/>
</p:tagLst>
</file>

<file path=ppt/tags/tag21.xml><?xml version="1.0" encoding="utf-8"?>
<p:tagLst xmlns:p="http://schemas.openxmlformats.org/presentationml/2006/main">
  <p:tag name="KSO_WM_UNIT_TYPE" val="i"/>
  <p:tag name="KSO_WM_UNIT_INDEX" val="1"/>
  <p:tag name="KSO_WM_BEAUTIFY_FLAG" val="#wm#"/>
  <p:tag name="KSO_WM_TAG_VERSION" val="3.0"/>
  <p:tag name="KSO_WM_UNIT_ID" val="_3*i*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10.xml><?xml version="1.0" encoding="utf-8"?>
<p:tagLst xmlns:p="http://schemas.openxmlformats.org/presentationml/2006/main">
  <p:tag name="KSO_WM_UNIT_INDEX" val="5"/>
  <p:tag name="KSO_WM_UNIT_TYPE" val="j"/>
  <p:tag name="KSO_WM_BEAUTIFY_FLAG" val="#wm#"/>
</p:tagLst>
</file>

<file path=ppt/tags/tag211.xml><?xml version="1.0" encoding="utf-8"?>
<p:tagLst xmlns:p="http://schemas.openxmlformats.org/presentationml/2006/main">
  <p:tag name="KSO_WM_UNIT_INDEX" val="7"/>
  <p:tag name="KSO_WM_UNIT_TYPE" val="j"/>
  <p:tag name="KSO_WM_BEAUTIFY_FLAG" val="#wm#"/>
</p:tagLst>
</file>

<file path=ppt/tags/tag212.xml><?xml version="1.0" encoding="utf-8"?>
<p:tagLst xmlns:p="http://schemas.openxmlformats.org/presentationml/2006/main">
  <p:tag name="KSO_WM_UNIT_INDEX" val="2"/>
  <p:tag name="KSO_WM_UNIT_TYPE" val="a"/>
  <p:tag name="KSO_WM_BEAUTIFY_FLAG" val="#wm#"/>
</p:tagLst>
</file>

<file path=ppt/tags/tag213.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14.xml><?xml version="1.0" encoding="utf-8"?>
<p:tagLst xmlns:p="http://schemas.openxmlformats.org/presentationml/2006/main">
  <p:tag name="KSO_WM_UNIT_INDEX" val="3"/>
  <p:tag name="KSO_WM_UNIT_TYPE" val="α"/>
  <p:tag name="KSO_WM_BEAUTIFY_FLAG" val="#wm#"/>
</p:tagLst>
</file>

<file path=ppt/tags/tag215.xml><?xml version="1.0" encoding="utf-8"?>
<p:tagLst xmlns:p="http://schemas.openxmlformats.org/presentationml/2006/main">
  <p:tag name="KSO_WM_UNIT_INDEX" val="2"/>
  <p:tag name="KSO_WM_UNIT_TYPE" val="a"/>
  <p:tag name="KSO_WM_BEAUTIFY_FLAG" val="#wm#"/>
</p:tagLst>
</file>

<file path=ppt/tags/tag216.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17.xml><?xml version="1.0" encoding="utf-8"?>
<p:tagLst xmlns:p="http://schemas.openxmlformats.org/presentationml/2006/main">
  <p:tag name="KSO_WM_UNIT_INDEX" val="3"/>
  <p:tag name="KSO_WM_UNIT_TYPE" val="a"/>
  <p:tag name="KSO_WM_BEAUTIFY_FLAG" val="#wm#"/>
</p:tagLst>
</file>

<file path=ppt/tags/tag218.xml><?xml version="1.0" encoding="utf-8"?>
<p:tagLst xmlns:p="http://schemas.openxmlformats.org/presentationml/2006/main">
  <p:tag name="KSO_WM_BEAUTIFY_FLAG" val="#wm#"/>
  <p:tag name="KSO_WM_UNIT_INDEX" val="3"/>
  <p:tag name="KSO_WM_UNIT_TYPE" val="j"/>
</p:tagLst>
</file>

<file path=ppt/tags/tag219.xml><?xml version="1.0" encoding="utf-8"?>
<p:tagLst xmlns:p="http://schemas.openxmlformats.org/presentationml/2006/main">
  <p:tag name="KSO_WM_UNIT_INDEX" val="2"/>
  <p:tag name="KSO_WM_UNIT_TYPE" val="a"/>
  <p:tag name="KSO_WM_BEAUTIFY_FLAG" val="#wm#"/>
</p:tagLst>
</file>

<file path=ppt/tags/tag22.xml><?xml version="1.0" encoding="utf-8"?>
<p:tagLst xmlns:p="http://schemas.openxmlformats.org/presentationml/2006/main">
  <p:tag name="KSO_WM_UNIT_TYPE" val="a"/>
  <p:tag name="KSO_WM_UNIT_INDEX" val="1"/>
  <p:tag name="KSO_WM_BEAUTIFY_FLAG" val="#wm#"/>
  <p:tag name="KSO_WM_TAG_VERSION" val="3.0"/>
  <p:tag name="KSO_WM_UNIT_PRESET_TEXT" val="标题"/>
  <p:tag name="KSO_WM_UNIT_ID" val="_3*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1"/>
  <p:tag name="KSO_WM_UNIT_VALUE" val="3"/>
</p:tagLst>
</file>

<file path=ppt/tags/tag220.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21.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2.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3.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4.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5.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6.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7.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8.xml><?xml version="1.0" encoding="utf-8"?>
<p:tagLst xmlns:p="http://schemas.openxmlformats.org/presentationml/2006/main">
  <p:tag name="KSO_WM_DIAGRAM_VIRTUALLY_FRAME" val="{&quot;height&quot;:349.0749606299213,&quot;left&quot;:52.38283464566929,&quot;top&quot;:115.12503937007872,&quot;width&quot;:649.7422047244095}"/>
</p:tagLst>
</file>

<file path=ppt/tags/tag229.xml><?xml version="1.0" encoding="utf-8"?>
<p:tagLst xmlns:p="http://schemas.openxmlformats.org/presentationml/2006/main">
  <p:tag name="KSO_WM_BEAUTIFY_FLAG" val=""/>
</p:tagLst>
</file>

<file path=ppt/tags/tag23.xml><?xml version="1.0" encoding="utf-8"?>
<p:tagLst xmlns:p="http://schemas.openxmlformats.org/presentationml/2006/main">
  <p:tag name="KSO_WM_UNIT_ID" val="_3**"/>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30.xml><?xml version="1.0" encoding="utf-8"?>
<p:tagLst xmlns:p="http://schemas.openxmlformats.org/presentationml/2006/main">
  <p:tag name="KSO_WM_BEAUTIFY_FLAG" val=""/>
</p:tagLst>
</file>

<file path=ppt/tags/tag231.xml><?xml version="1.0" encoding="utf-8"?>
<p:tagLst xmlns:p="http://schemas.openxmlformats.org/presentationml/2006/main">
  <p:tag name="KSO_WM_BEAUTIFY_FLAG" val=""/>
</p:tagLst>
</file>

<file path=ppt/tags/tag232.xml><?xml version="1.0" encoding="utf-8"?>
<p:tagLst xmlns:p="http://schemas.openxmlformats.org/presentationml/2006/main">
  <p:tag name="KSO_WM_BEAUTIFY_FLAG" val=""/>
</p:tagLst>
</file>

<file path=ppt/tags/tag233.xml><?xml version="1.0" encoding="utf-8"?>
<p:tagLst xmlns:p="http://schemas.openxmlformats.org/presentationml/2006/main">
  <p:tag name="KSO_WM_BEAUTIFY_FLAG" val="#wm#"/>
  <p:tag name="KSO_WM_TEMPLATE_CATEGORY" val="custom"/>
  <p:tag name="KSO_WM_TEMPLATE_INDEX" val="20238648"/>
</p:tagLst>
</file>

<file path=ppt/tags/tag234.xml><?xml version="1.0" encoding="utf-8"?>
<p:tagLst xmlns:p="http://schemas.openxmlformats.org/presentationml/2006/main">
  <p:tag name="KSO_WM_UNIT_INDEX" val="2"/>
  <p:tag name="KSO_WM_UNIT_TYPE" val="j"/>
  <p:tag name="KSO_WM_BEAUTIFY_FLAG" val="#wm#"/>
</p:tagLst>
</file>

<file path=ppt/tags/tag235.xml><?xml version="1.0" encoding="utf-8"?>
<p:tagLst xmlns:p="http://schemas.openxmlformats.org/presentationml/2006/main">
  <p:tag name="KSO_WM_UNIT_INDEX" val="3"/>
  <p:tag name="KSO_WM_UNIT_TYPE" val="i"/>
  <p:tag name="KSO_WM_BEAUTIFY_FLAG" val="#wm#"/>
</p:tagLst>
</file>

<file path=ppt/tags/tag236.xml><?xml version="1.0" encoding="utf-8"?>
<p:tagLst xmlns:p="http://schemas.openxmlformats.org/presentationml/2006/main">
  <p:tag name="KSO_WM_UNIT_INDEX" val="5"/>
  <p:tag name="KSO_WM_UNIT_TYPE" val="f"/>
  <p:tag name="KSO_WM_UNIT_SUBTYPE" val="a"/>
  <p:tag name="KSO_WM_BEAUTIFY_FLAG" val="#wm#"/>
</p:tagLst>
</file>

<file path=ppt/tags/tag237.xml><?xml version="1.0" encoding="utf-8"?>
<p:tagLst xmlns:p="http://schemas.openxmlformats.org/presentationml/2006/main">
  <p:tag name="KSO_WM_UNIT_INDEX" val="6"/>
  <p:tag name="KSO_WM_UNIT_TYPE" val="i"/>
  <p:tag name="KSO_WM_BEAUTIFY_FLAG" val="#wm#"/>
</p:tagLst>
</file>

<file path=ppt/tags/tag238.xml><?xml version="1.0" encoding="utf-8"?>
<p:tagLst xmlns:p="http://schemas.openxmlformats.org/presentationml/2006/main">
  <p:tag name="KSO_WM_UNIT_INDEX" val="9"/>
  <p:tag name="KSO_WM_UNIT_TYPE" val="f"/>
  <p:tag name="KSO_WM_UNIT_SUBTYPE" val="a"/>
  <p:tag name="KSO_WM_BEAUTIFY_FLAG" val="#wm#"/>
</p:tagLst>
</file>

<file path=ppt/tags/tag239.xml><?xml version="1.0" encoding="utf-8"?>
<p:tagLst xmlns:p="http://schemas.openxmlformats.org/presentationml/2006/main">
  <p:tag name="KSO_WM_UNIT_INDEX" val="7"/>
  <p:tag name="KSO_WM_UNIT_TYPE" val="i"/>
  <p:tag name="KSO_WM_BEAUTIFY_FLAG" val="#wm#"/>
</p:tagLst>
</file>

<file path=ppt/tags/tag24.xml><?xml version="1.0" encoding="utf-8"?>
<p:tagLst xmlns:p="http://schemas.openxmlformats.org/presentationml/2006/main">
  <p:tag name="KSO_WM_UNIT_ID" val="_3**"/>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40.xml><?xml version="1.0" encoding="utf-8"?>
<p:tagLst xmlns:p="http://schemas.openxmlformats.org/presentationml/2006/main">
  <p:tag name="KSO_WM_UNIT_INDEX" val="10"/>
  <p:tag name="KSO_WM_UNIT_TYPE" val="f"/>
  <p:tag name="KSO_WM_UNIT_SUBTYPE" val="a"/>
  <p:tag name="KSO_WM_BEAUTIFY_FLAG" val="#wm#"/>
</p:tagLst>
</file>

<file path=ppt/tags/tag241.xml><?xml version="1.0" encoding="utf-8"?>
<p:tagLst xmlns:p="http://schemas.openxmlformats.org/presentationml/2006/main">
  <p:tag name="KSO_WM_UNIT_INDEX" val="1"/>
  <p:tag name="KSO_WM_UNIT_TYPE" val="a"/>
  <p:tag name="KSO_WM_BEAUTIFY_FLAG" val="#wm#"/>
</p:tagLst>
</file>

<file path=ppt/tags/tag242.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43.xml><?xml version="1.0" encoding="utf-8"?>
<p:tagLst xmlns:p="http://schemas.openxmlformats.org/presentationml/2006/main">
  <p:tag name="KSO_WM_UNIT_INDEX" val="2"/>
  <p:tag name="KSO_WM_UNIT_TYPE" val="j"/>
  <p:tag name="KSO_WM_BEAUTIFY_FLAG" val="#wm#"/>
</p:tagLst>
</file>

<file path=ppt/tags/tag244.xml><?xml version="1.0" encoding="utf-8"?>
<p:tagLst xmlns:p="http://schemas.openxmlformats.org/presentationml/2006/main">
  <p:tag name="KSO_WM_UNIT_INDEX" val="3"/>
  <p:tag name="KSO_WM_UNIT_TYPE" val="i"/>
  <p:tag name="KSO_WM_BEAUTIFY_FLAG" val="#wm#"/>
</p:tagLst>
</file>

<file path=ppt/tags/tag245.xml><?xml version="1.0" encoding="utf-8"?>
<p:tagLst xmlns:p="http://schemas.openxmlformats.org/presentationml/2006/main">
  <p:tag name="KSO_WM_UNIT_INDEX" val="5"/>
  <p:tag name="KSO_WM_UNIT_TYPE" val="f"/>
  <p:tag name="KSO_WM_UNIT_SUBTYPE" val="a"/>
  <p:tag name="KSO_WM_BEAUTIFY_FLAG" val="#wm#"/>
</p:tagLst>
</file>

<file path=ppt/tags/tag246.xml><?xml version="1.0" encoding="utf-8"?>
<p:tagLst xmlns:p="http://schemas.openxmlformats.org/presentationml/2006/main">
  <p:tag name="KSO_WM_UNIT_INDEX" val="1"/>
  <p:tag name="KSO_WM_UNIT_TYPE" val="a"/>
  <p:tag name="KSO_WM_BEAUTIFY_FLAG" val="#wm#"/>
</p:tagLst>
</file>

<file path=ppt/tags/tag247.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48.xml><?xml version="1.0" encoding="utf-8"?>
<p:tagLst xmlns:p="http://schemas.openxmlformats.org/presentationml/2006/main">
  <p:tag name="KSO_WM_UNIT_INDEX" val="2"/>
  <p:tag name="KSO_WM_UNIT_TYPE" val="j"/>
  <p:tag name="KSO_WM_BEAUTIFY_FLAG" val="#wm#"/>
</p:tagLst>
</file>

<file path=ppt/tags/tag249.xml><?xml version="1.0" encoding="utf-8"?>
<p:tagLst xmlns:p="http://schemas.openxmlformats.org/presentationml/2006/main">
  <p:tag name="KSO_WM_UNIT_INDEX" val="4"/>
  <p:tag name="KSO_WM_UNIT_TYPE" val="i"/>
  <p:tag name="KSO_WM_BEAUTIFY_FLAG" val="#wm#"/>
</p:tagLst>
</file>

<file path=ppt/tags/tag25.xml><?xml version="1.0" encoding="utf-8"?>
<p:tagLst xmlns:p="http://schemas.openxmlformats.org/presentationml/2006/main">
  <p:tag name="KSO_WM_UNIT_ID" val="_3**"/>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50.xml><?xml version="1.0" encoding="utf-8"?>
<p:tagLst xmlns:p="http://schemas.openxmlformats.org/presentationml/2006/main">
  <p:tag name="KSO_WM_UNIT_INDEX" val="3"/>
  <p:tag name="KSO_WM_UNIT_TYPE" val="f"/>
  <p:tag name="KSO_WM_UNIT_SUBTYPE" val="a"/>
  <p:tag name="KSO_WM_BEAUTIFY_FLAG" val="#wm#"/>
</p:tagLst>
</file>

<file path=ppt/tags/tag251.xml><?xml version="1.0" encoding="utf-8"?>
<p:tagLst xmlns:p="http://schemas.openxmlformats.org/presentationml/2006/main">
  <p:tag name="KSO_WM_UNIT_INDEX" val="1"/>
  <p:tag name="KSO_WM_UNIT_TYPE" val="a"/>
  <p:tag name="KSO_WM_BEAUTIFY_FLAG" val="#wm#"/>
</p:tagLst>
</file>

<file path=ppt/tags/tag252.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53.xml><?xml version="1.0" encoding="utf-8"?>
<p:tagLst xmlns:p="http://schemas.openxmlformats.org/presentationml/2006/main">
  <p:tag name="KSO_WM_UNIT_INDEX" val="2"/>
  <p:tag name="KSO_WM_UNIT_TYPE" val="j"/>
  <p:tag name="KSO_WM_BEAUTIFY_FLAG" val="#wm#"/>
</p:tagLst>
</file>

<file path=ppt/tags/tag254.xml><?xml version="1.0" encoding="utf-8"?>
<p:tagLst xmlns:p="http://schemas.openxmlformats.org/presentationml/2006/main">
  <p:tag name="KSO_WM_UNIT_INDEX" val="3"/>
  <p:tag name="KSO_WM_UNIT_TYPE" val="i"/>
  <p:tag name="KSO_WM_BEAUTIFY_FLAG" val="#wm#"/>
</p:tagLst>
</file>

<file path=ppt/tags/tag255.xml><?xml version="1.0" encoding="utf-8"?>
<p:tagLst xmlns:p="http://schemas.openxmlformats.org/presentationml/2006/main">
  <p:tag name="KSO_WM_UNIT_INDEX" val="4"/>
  <p:tag name="KSO_WM_UNIT_TYPE" val="f"/>
  <p:tag name="KSO_WM_UNIT_SUBTYPE" val="a"/>
  <p:tag name="KSO_WM_BEAUTIFY_FLAG" val="#wm#"/>
</p:tagLst>
</file>

<file path=ppt/tags/tag256.xml><?xml version="1.0" encoding="utf-8"?>
<p:tagLst xmlns:p="http://schemas.openxmlformats.org/presentationml/2006/main">
  <p:tag name="KSO_WM_UNIT_INDEX" val="1"/>
  <p:tag name="KSO_WM_UNIT_TYPE" val="a"/>
  <p:tag name="KSO_WM_BEAUTIFY_FLAG" val="#wm#"/>
</p:tagLst>
</file>

<file path=ppt/tags/tag257.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58.xml><?xml version="1.0" encoding="utf-8"?>
<p:tagLst xmlns:p="http://schemas.openxmlformats.org/presentationml/2006/main">
  <p:tag name="KSO_WM_UNIT_INDEX" val="3"/>
  <p:tag name="KSO_WM_UNIT_TYPE" val="i"/>
  <p:tag name="KSO_WM_BEAUTIFY_FLAG" val="#wm#"/>
</p:tagLst>
</file>

<file path=ppt/tags/tag259.xml><?xml version="1.0" encoding="utf-8"?>
<p:tagLst xmlns:p="http://schemas.openxmlformats.org/presentationml/2006/main">
  <p:tag name="KSO_WM_UNIT_INDEX" val="4"/>
  <p:tag name="KSO_WM_UNIT_TYPE" val="f"/>
  <p:tag name="KSO_WM_UNIT_SUBTYPE" val="a"/>
  <p:tag name="KSO_WM_BEAUTIFY_FLAG" val="#wm#"/>
</p:tagLst>
</file>

<file path=ppt/tags/tag26.xml><?xml version="1.0" encoding="utf-8"?>
<p:tagLst xmlns:p="http://schemas.openxmlformats.org/presentationml/2006/main">
  <p:tag name="KSO_WM_UNIT_TYPE" val="i"/>
  <p:tag name="KSO_WM_UNIT_INDEX" val="1"/>
  <p:tag name="KSO_WM_BEAUTIFY_FLAG" val="#wm#"/>
  <p:tag name="KSO_WM_TAG_VERSION" val="3.0"/>
  <p:tag name="KSO_WM_UNIT_ID" val="_4*i*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60.xml><?xml version="1.0" encoding="utf-8"?>
<p:tagLst xmlns:p="http://schemas.openxmlformats.org/presentationml/2006/main">
  <p:tag name="KSO_WM_UNIT_INDEX" val="2"/>
  <p:tag name="KSO_WM_UNIT_TYPE" val="j"/>
  <p:tag name="KSO_WM_BEAUTIFY_FLAG" val="#wm#"/>
</p:tagLst>
</file>

<file path=ppt/tags/tag261.xml><?xml version="1.0" encoding="utf-8"?>
<p:tagLst xmlns:p="http://schemas.openxmlformats.org/presentationml/2006/main">
  <p:tag name="KSO_WM_UNIT_INDEX" val="1"/>
  <p:tag name="KSO_WM_UNIT_TYPE" val="a"/>
  <p:tag name="KSO_WM_BEAUTIFY_FLAG" val="#wm#"/>
</p:tagLst>
</file>

<file path=ppt/tags/tag262.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63.xml><?xml version="1.0" encoding="utf-8"?>
<p:tagLst xmlns:p="http://schemas.openxmlformats.org/presentationml/2006/main">
  <p:tag name="KSO_WM_UNIT_PLACING_PICTURE_USER_VIEWPORT" val="{&quot;height&quot;:8887.499212598424,&quot;width&quot;:14400}"/>
  <p:tag name="KSO_WM_UNIT_INDEX" val="2"/>
  <p:tag name="KSO_WM_UNIT_TYPE" val="j"/>
  <p:tag name="KSO_WM_BEAUTIFY_FLAG" val="#wm#"/>
</p:tagLst>
</file>

<file path=ppt/tags/tag264.xml><?xml version="1.0" encoding="utf-8"?>
<p:tagLst xmlns:p="http://schemas.openxmlformats.org/presentationml/2006/main">
  <p:tag name="KSO_WM_UNIT_INDEX" val="4"/>
  <p:tag name="KSO_WM_UNIT_TYPE" val="i"/>
  <p:tag name="KSO_WM_BEAUTIFY_FLAG" val="#wm#"/>
</p:tagLst>
</file>

<file path=ppt/tags/tag265.xml><?xml version="1.0" encoding="utf-8"?>
<p:tagLst xmlns:p="http://schemas.openxmlformats.org/presentationml/2006/main">
  <p:tag name="KSO_WM_UNIT_INDEX" val="3"/>
  <p:tag name="KSO_WM_UNIT_TYPE" val="f"/>
  <p:tag name="KSO_WM_UNIT_SUBTYPE" val="a"/>
  <p:tag name="KSO_WM_BEAUTIFY_FLAG" val="#wm#"/>
</p:tagLst>
</file>

<file path=ppt/tags/tag266.xml><?xml version="1.0" encoding="utf-8"?>
<p:tagLst xmlns:p="http://schemas.openxmlformats.org/presentationml/2006/main">
  <p:tag name="KSO_WM_BEAUTIFY_FLAG" val="#wm#"/>
  <p:tag name="KSO_WM_UNIT_INDEX" val="5"/>
  <p:tag name="KSO_WM_UNIT_TYPE" val="i"/>
</p:tagLst>
</file>

<file path=ppt/tags/tag267.xml><?xml version="1.0" encoding="utf-8"?>
<p:tagLst xmlns:p="http://schemas.openxmlformats.org/presentationml/2006/main">
  <p:tag name="KSO_WM_BEAUTIFY_FLAG" val="#wm#"/>
  <p:tag name="KSO_WM_UNIT_INDEX" val="6"/>
  <p:tag name="KSO_WM_UNIT_TYPE" val="i"/>
</p:tagLst>
</file>

<file path=ppt/tags/tag268.xml><?xml version="1.0" encoding="utf-8"?>
<p:tagLst xmlns:p="http://schemas.openxmlformats.org/presentationml/2006/main">
  <p:tag name="KSO_WM_BEAUTIFY_FLAG" val="#wm#"/>
  <p:tag name="KSO_WM_UNIT_INDEX" val="7"/>
  <p:tag name="KSO_WM_UNIT_TYPE" val="f"/>
  <p:tag name="KSO_WM_UNIT_SUBTYPE" val="a"/>
</p:tagLst>
</file>

<file path=ppt/tags/tag269.xml><?xml version="1.0" encoding="utf-8"?>
<p:tagLst xmlns:p="http://schemas.openxmlformats.org/presentationml/2006/main">
  <p:tag name="KSO_WM_BEAUTIFY_FLAG" val="#wm#"/>
  <p:tag name="KSO_WM_UNIT_INDEX" val="8"/>
  <p:tag name="KSO_WM_UNIT_TYPE" val="i"/>
</p:tagLst>
</file>

<file path=ppt/tags/tag27.xml><?xml version="1.0" encoding="utf-8"?>
<p:tagLst xmlns:p="http://schemas.openxmlformats.org/presentationml/2006/main">
  <p:tag name="KSO_WM_UNIT_TYPE" val="i"/>
  <p:tag name="KSO_WM_UNIT_INDEX" val="7"/>
  <p:tag name="KSO_WM_BEAUTIFY_FLAG" val="#wm#"/>
  <p:tag name="KSO_WM_TAG_VERSION" val="3.0"/>
  <p:tag name="KSO_WM_UNIT_ID" val="_4*i*7"/>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270.xml><?xml version="1.0" encoding="utf-8"?>
<p:tagLst xmlns:p="http://schemas.openxmlformats.org/presentationml/2006/main">
  <p:tag name="KSO_WM_BEAUTIFY_FLAG" val="#wm#"/>
  <p:tag name="KSO_WM_UNIT_INDEX" val="9"/>
  <p:tag name="KSO_WM_UNIT_TYPE" val="j"/>
</p:tagLst>
</file>

<file path=ppt/tags/tag271.xml><?xml version="1.0" encoding="utf-8"?>
<p:tagLst xmlns:p="http://schemas.openxmlformats.org/presentationml/2006/main">
  <p:tag name="KSO_WM_BEAUTIFY_FLAG" val="#wm#"/>
  <p:tag name="KSO_WM_UNIT_INDEX" val="10"/>
  <p:tag name="KSO_WM_UNIT_TYPE" val="j"/>
</p:tagLst>
</file>

<file path=ppt/tags/tag272.xml><?xml version="1.0" encoding="utf-8"?>
<p:tagLst xmlns:p="http://schemas.openxmlformats.org/presentationml/2006/main">
  <p:tag name="KSO_WM_UNIT_INDEX" val="1"/>
  <p:tag name="KSO_WM_UNIT_TYPE" val="a"/>
  <p:tag name="KSO_WM_BEAUTIFY_FLAG" val="#wm#"/>
</p:tagLst>
</file>

<file path=ppt/tags/tag273.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74.xml><?xml version="1.0" encoding="utf-8"?>
<p:tagLst xmlns:p="http://schemas.openxmlformats.org/presentationml/2006/main">
  <p:tag name="KSO_WM_UNIT_INDEX" val="2"/>
  <p:tag name="KSO_WM_UNIT_TYPE" val="j"/>
  <p:tag name="KSO_WM_BEAUTIFY_FLAG" val="#wm#"/>
</p:tagLst>
</file>

<file path=ppt/tags/tag275.xml><?xml version="1.0" encoding="utf-8"?>
<p:tagLst xmlns:p="http://schemas.openxmlformats.org/presentationml/2006/main">
  <p:tag name="KSO_WM_UNIT_INDEX" val="4"/>
  <p:tag name="KSO_WM_UNIT_TYPE" val="i"/>
  <p:tag name="KSO_WM_BEAUTIFY_FLAG" val="#wm#"/>
</p:tagLst>
</file>

<file path=ppt/tags/tag276.xml><?xml version="1.0" encoding="utf-8"?>
<p:tagLst xmlns:p="http://schemas.openxmlformats.org/presentationml/2006/main">
  <p:tag name="KSO_WM_UNIT_INDEX" val="3"/>
  <p:tag name="KSO_WM_UNIT_TYPE" val="f"/>
  <p:tag name="KSO_WM_UNIT_SUBTYPE" val="a"/>
  <p:tag name="KSO_WM_BEAUTIFY_FLAG" val="#wm#"/>
</p:tagLst>
</file>

<file path=ppt/tags/tag277.xml><?xml version="1.0" encoding="utf-8"?>
<p:tagLst xmlns:p="http://schemas.openxmlformats.org/presentationml/2006/main">
  <p:tag name="KSO_WM_UNIT_INDEX" val="1"/>
  <p:tag name="KSO_WM_UNIT_TYPE" val="a"/>
  <p:tag name="KSO_WM_BEAUTIFY_FLAG" val="#wm#"/>
</p:tagLst>
</file>

<file path=ppt/tags/tag278.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79.xml><?xml version="1.0" encoding="utf-8"?>
<p:tagLst xmlns:p="http://schemas.openxmlformats.org/presentationml/2006/main">
  <p:tag name="KSO_WM_UNIT_INDEX" val="2"/>
  <p:tag name="KSO_WM_UNIT_TYPE" val="j"/>
  <p:tag name="KSO_WM_BEAUTIFY_FLAG" val="#wm#"/>
</p:tagLst>
</file>

<file path=ppt/tags/tag28.xml><?xml version="1.0" encoding="utf-8"?>
<p:tagLst xmlns:p="http://schemas.openxmlformats.org/presentationml/2006/main">
  <p:tag name="KSO_WM_UNIT_TYPE" val="a"/>
  <p:tag name="KSO_WM_UNIT_INDEX" val="1"/>
  <p:tag name="KSO_WM_BEAUTIFY_FLAG" val="#wm#"/>
  <p:tag name="KSO_WM_TAG_VERSION" val="3.0"/>
  <p:tag name="KSO_WM_UNIT_PRESET_TEXT" val="单击编辑母版标题"/>
  <p:tag name="KSO_WM_UNIT_ID" val="_4*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14"/>
</p:tagLst>
</file>

<file path=ppt/tags/tag280.xml><?xml version="1.0" encoding="utf-8"?>
<p:tagLst xmlns:p="http://schemas.openxmlformats.org/presentationml/2006/main">
  <p:tag name="KSO_WM_UNIT_INDEX" val="4"/>
  <p:tag name="KSO_WM_UNIT_TYPE" val="i"/>
  <p:tag name="KSO_WM_BEAUTIFY_FLAG" val="#wm#"/>
</p:tagLst>
</file>

<file path=ppt/tags/tag281.xml><?xml version="1.0" encoding="utf-8"?>
<p:tagLst xmlns:p="http://schemas.openxmlformats.org/presentationml/2006/main">
  <p:tag name="KSO_WM_UNIT_INDEX" val="3"/>
  <p:tag name="KSO_WM_UNIT_TYPE" val="f"/>
  <p:tag name="KSO_WM_UNIT_SUBTYPE" val="a"/>
  <p:tag name="KSO_WM_BEAUTIFY_FLAG" val="#wm#"/>
</p:tagLst>
</file>

<file path=ppt/tags/tag282.xml><?xml version="1.0" encoding="utf-8"?>
<p:tagLst xmlns:p="http://schemas.openxmlformats.org/presentationml/2006/main">
  <p:tag name="KSO_WM_UNIT_INDEX" val="1"/>
  <p:tag name="KSO_WM_UNIT_TYPE" val="a"/>
  <p:tag name="KSO_WM_BEAUTIFY_FLAG" val="#wm#"/>
</p:tagLst>
</file>

<file path=ppt/tags/tag283.xml><?xml version="1.0" encoding="utf-8"?>
<p:tagLst xmlns:p="http://schemas.openxmlformats.org/presentationml/2006/main">
  <p:tag name="KSO_WM_SLIDE_TYPE" val="text"/>
  <p:tag name="KSO_WM_BEAUTIFY_FLAG" val="#wm#"/>
  <p:tag name="KSO_WM_TEMPLATE_SUBCATEGORY" val="29"/>
  <p:tag name="KSO_WM_TEMPLATE_COLOR_TYPE" val="0"/>
  <p:tag name="KSO_WM_TAG_VERSION" val="3.0"/>
  <p:tag name="KSO_WM_SLIDE_SUBTYPE" val="pureTxt"/>
  <p:tag name="KSO_WM_SLIDE_ITEM_CNT" val="0"/>
  <p:tag name="KSO_WM_TEMPLATE_INDEX" val="20238648"/>
  <p:tag name="KSO_WM_TEMPLATE_CATEGORY" val="custom"/>
  <p:tag name="KSO_WM_SLIDE_INDEX" val="8"/>
  <p:tag name="KSO_WM_SLIDE_ID" val="custom20238648_8"/>
  <p:tag name="KSO_WM_TEMPLATE_MASTER_TYPE" val="0"/>
  <p:tag name="KSO_WM_SLIDE_LAYOUT" val="a_f"/>
  <p:tag name="KSO_WM_SLIDE_LAYOUT_CNT" val="1_1"/>
  <p:tag name="KSO_WM_SLIDE_SIZE" val="850*457"/>
  <p:tag name="KSO_WM_SLIDE_POSITION" val="54*28"/>
</p:tagLst>
</file>

<file path=ppt/tags/tag284.xml><?xml version="1.0" encoding="utf-8"?>
<p:tagLst xmlns:p="http://schemas.openxmlformats.org/presentationml/2006/main">
  <p:tag name="KSO_WM_UNIT_ISCONTENTSTITLE" val="0"/>
  <p:tag name="KSO_WM_UNIT_ISNUMDGMTITLE" val="0"/>
  <p:tag name="KSO_WM_UNIT_NOCLEAR" val="0"/>
  <p:tag name="KSO_WM_UNIT_HIGHLIGHT" val="0"/>
  <p:tag name="KSO_WM_UNIT_COMPATIBLE" val="0"/>
  <p:tag name="KSO_WM_UNIT_DIAGRAM_ISNUMVISUAL" val="0"/>
  <p:tag name="KSO_WM_UNIT_DIAGRAM_ISREFERUNIT" val="0"/>
  <p:tag name="KSO_WM_UNIT_TYPE" val="a"/>
  <p:tag name="KSO_WM_UNIT_INDEX" val="1"/>
  <p:tag name="KSO_WM_UNIT_ID" val="custom20231422_9*a*1"/>
  <p:tag name="KSO_WM_TEMPLATE_CATEGORY" val="custom"/>
  <p:tag name="KSO_WM_TEMPLATE_INDEX" val="20231422"/>
  <p:tag name="KSO_WM_UNIT_LAYERLEVEL" val="1"/>
  <p:tag name="KSO_WM_TAG_VERSION" val="3.0"/>
  <p:tag name="KSO_WM_BEAUTIFY_FLAG" val="#wm#"/>
</p:tagLst>
</file>

<file path=ppt/tags/tag285.xml><?xml version="1.0" encoding="utf-8"?>
<p:tagLst xmlns:p="http://schemas.openxmlformats.org/presentationml/2006/main">
  <p:tag name="KSO_WM_UNIT_SUBTYPE" val="b"/>
  <p:tag name="KSO_WM_UNIT_NOCLEAR" val="0"/>
  <p:tag name="KSO_WM_UNIT_VALUE" val="172"/>
  <p:tag name="KSO_WM_UNIT_HIGHLIGHT" val="0"/>
  <p:tag name="KSO_WM_UNIT_COMPATIBLE" val="0"/>
  <p:tag name="KSO_WM_UNIT_DIAGRAM_ISNUMVISUAL" val="0"/>
  <p:tag name="KSO_WM_UNIT_DIAGRAM_ISREFERUNIT" val="0"/>
  <p:tag name="KSO_WM_UNIT_TYPE" val="f"/>
  <p:tag name="KSO_WM_UNIT_INDEX" val="1"/>
  <p:tag name="KSO_WM_UNIT_ID" val="custom20231422_9*f*1"/>
  <p:tag name="KSO_WM_TEMPLATE_CATEGORY" val="custom"/>
  <p:tag name="KSO_WM_TEMPLATE_INDEX" val="20231422"/>
  <p:tag name="KSO_WM_UNIT_LAYERLEVEL" val="1"/>
  <p:tag name="KSO_WM_TAG_VERSION" val="3.0"/>
  <p:tag name="KSO_WM_BEAUTIFY_FLAG" val="#wm#"/>
</p:tagLst>
</file>

<file path=ppt/tags/tag286.xml><?xml version="1.0" encoding="utf-8"?>
<p:tagLst xmlns:p="http://schemas.openxmlformats.org/presentationml/2006/main">
  <p:tag name="KSO_WM_SLIDE_ID" val="custom20231422_9"/>
  <p:tag name="KSO_WM_TEMPLATE_SUBCATEGORY" val="29"/>
  <p:tag name="KSO_WM_TEMPLATE_MASTER_TYPE" val="0"/>
  <p:tag name="KSO_WM_TEMPLATE_COLOR_TYPE" val="0"/>
  <p:tag name="KSO_WM_SLIDE_TYPE" val="endPage"/>
  <p:tag name="KSO_WM_SLIDE_SUBTYPE" val="pureTxt"/>
  <p:tag name="KSO_WM_SLIDE_ITEM_CNT" val="0"/>
  <p:tag name="KSO_WM_SLIDE_INDEX" val="9"/>
  <p:tag name="KSO_WM_TAG_VERSION" val="3.0"/>
  <p:tag name="KSO_WM_BEAUTIFY_FLAG" val="#wm#"/>
  <p:tag name="KSO_WM_TEMPLATE_CATEGORY" val="custom"/>
  <p:tag name="KSO_WM_TEMPLATE_INDEX" val="20231422"/>
  <p:tag name="KSO_WM_SLIDE_LAYOUT" val="a_f"/>
  <p:tag name="KSO_WM_SLIDE_LAYOUT_CNT" val="1_1"/>
</p:tagLst>
</file>

<file path=ppt/tags/tag287.xml><?xml version="1.0" encoding="utf-8"?>
<p:tagLst xmlns:p="http://schemas.openxmlformats.org/presentationml/2006/main">
  <p:tag name="KSO_WPP_MARK_KEY" val="a69be7dc-f086-4e8d-8cb6-4d442da96b3c"/>
  <p:tag name="COMMONDATA" val="eyJoZGlkIjoiZTQ2MDFlNzEzNjYzYTU0ZmYzZWUzYzdkYjVlMThhZGUifQ=="/>
</p:tagLst>
</file>

<file path=ppt/tags/tag29.xml><?xml version="1.0" encoding="utf-8"?>
<p:tagLst xmlns:p="http://schemas.openxmlformats.org/presentationml/2006/main">
  <p:tag name="KSO_WM_UNIT_TYPE" val="b"/>
  <p:tag name="KSO_WM_UNIT_INDEX" val="1"/>
  <p:tag name="KSO_WM_BEAUTIFY_FLAG" val="#wm#"/>
  <p:tag name="KSO_WM_TAG_VERSION" val="3.0"/>
  <p:tag name="KSO_WM_UNIT_PRESET_TEXT" val="单击此处编辑副标题"/>
  <p:tag name="KSO_WM_UNIT_ID" val="_4*b*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26"/>
</p:tagLst>
</file>

<file path=ppt/tags/tag3.xml><?xml version="1.0" encoding="utf-8"?>
<p:tagLst xmlns:p="http://schemas.openxmlformats.org/presentationml/2006/main">
  <p:tag name="KSO_WM_UNIT_TYPE" val="b"/>
  <p:tag name="KSO_WM_UNIT_INDEX" val="1"/>
  <p:tag name="KSO_WM_BEAUTIFY_FLAG" val="#wm#"/>
  <p:tag name="KSO_WM_TAG_VERSION" val="3.0"/>
  <p:tag name="KSO_WM_UNIT_PRESET_TEXT" val="单击此处编辑副标题"/>
  <p:tag name="KSO_WM_UNIT_ID" val="_1*b*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45"/>
</p:tagLst>
</file>

<file path=ppt/tags/tag30.xml><?xml version="1.0" encoding="utf-8"?>
<p:tagLst xmlns:p="http://schemas.openxmlformats.org/presentationml/2006/main">
  <p:tag name="KSO_WM_UNIT_TYPE" val="e"/>
  <p:tag name="KSO_WM_UNIT_INDEX" val="1"/>
  <p:tag name="KSO_WM_BEAUTIFY_FLAG" val="#wm#"/>
  <p:tag name="KSO_WM_TAG_VERSION" val="3.0"/>
  <p:tag name="KSO_WM_UNIT_PRESET_TEXT" val="节编号"/>
  <p:tag name="KSO_WM_UNIT_ID" val="_4*e*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1.xml><?xml version="1.0" encoding="utf-8"?>
<p:tagLst xmlns:p="http://schemas.openxmlformats.org/presentationml/2006/main">
  <p:tag name="KSO_WM_UNIT_ID" val="_4**"/>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2.xml><?xml version="1.0" encoding="utf-8"?>
<p:tagLst xmlns:p="http://schemas.openxmlformats.org/presentationml/2006/main">
  <p:tag name="KSO_WM_UNIT_ID" val="_4**"/>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3.xml><?xml version="1.0" encoding="utf-8"?>
<p:tagLst xmlns:p="http://schemas.openxmlformats.org/presentationml/2006/main">
  <p:tag name="KSO_WM_UNIT_ID" val="_4**"/>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4.xml><?xml version="1.0" encoding="utf-8"?>
<p:tagLst xmlns:p="http://schemas.openxmlformats.org/presentationml/2006/main">
  <p:tag name="KSO_WM_UNIT_TYPE" val="i"/>
  <p:tag name="KSO_WM_UNIT_INDEX" val="6"/>
  <p:tag name="KSO_WM_BEAUTIFY_FLAG" val="#wm#"/>
  <p:tag name="KSO_WM_TAG_VERSION" val="3.0"/>
  <p:tag name="KSO_WM_UNIT_ID" val="_4*i*6"/>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5.xml><?xml version="1.0" encoding="utf-8"?>
<p:tagLst xmlns:p="http://schemas.openxmlformats.org/presentationml/2006/main">
  <p:tag name="KSO_WM_UNIT_TYPE" val="i"/>
  <p:tag name="KSO_WM_UNIT_INDEX" val="2"/>
  <p:tag name="KSO_WM_BEAUTIFY_FLAG" val="#wm#"/>
  <p:tag name="KSO_WM_TAG_VERSION" val="3.0"/>
  <p:tag name="KSO_WM_UNIT_ID" val="_4*i*2"/>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6.xml><?xml version="1.0" encoding="utf-8"?>
<p:tagLst xmlns:p="http://schemas.openxmlformats.org/presentationml/2006/main">
  <p:tag name="KSO_WM_UNIT_TYPE" val="i"/>
  <p:tag name="KSO_WM_UNIT_INDEX" val="3"/>
  <p:tag name="KSO_WM_BEAUTIFY_FLAG" val="#wm#"/>
  <p:tag name="KSO_WM_TAG_VERSION" val="3.0"/>
  <p:tag name="KSO_WM_UNIT_ID" val="_4*i*3"/>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7.xml><?xml version="1.0" encoding="utf-8"?>
<p:tagLst xmlns:p="http://schemas.openxmlformats.org/presentationml/2006/main">
  <p:tag name="KSO_WM_UNIT_TYPE" val="i"/>
  <p:tag name="KSO_WM_UNIT_INDEX" val="4"/>
  <p:tag name="KSO_WM_BEAUTIFY_FLAG" val="#wm#"/>
  <p:tag name="KSO_WM_TAG_VERSION" val="3.0"/>
  <p:tag name="KSO_WM_UNIT_ID" val="_4*i*4"/>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8.xml><?xml version="1.0" encoding="utf-8"?>
<p:tagLst xmlns:p="http://schemas.openxmlformats.org/presentationml/2006/main">
  <p:tag name="KSO_WM_UNIT_TYPE" val="i"/>
  <p:tag name="KSO_WM_UNIT_INDEX" val="5"/>
  <p:tag name="KSO_WM_BEAUTIFY_FLAG" val="#wm#"/>
  <p:tag name="KSO_WM_TAG_VERSION" val="3.0"/>
  <p:tag name="KSO_WM_UNIT_ID" val="_4*i*5"/>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39.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5*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30"/>
</p:tagLst>
</file>

<file path=ppt/tags/tag4.xml><?xml version="1.0" encoding="utf-8"?>
<p:tagLst xmlns:p="http://schemas.openxmlformats.org/presentationml/2006/main">
  <p:tag name="KSO_WM_UNIT_ID" val="_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40.xml><?xml version="1.0" encoding="utf-8"?>
<p:tagLst xmlns:p="http://schemas.openxmlformats.org/presentationml/2006/main">
  <p:tag name="KSO_WM_UNIT_TYPE" val="f"/>
  <p:tag name="KSO_WM_UNIT_SUBTYPE" val="a"/>
  <p:tag name="KSO_WM_UNIT_INDEX" val="1"/>
  <p:tag name="KSO_WM_BEAUTIFY_FLAG" val="#wm#"/>
  <p:tag name="KSO_WM_TAG_VERSION" val="3.0"/>
  <p:tag name="KSO_WM_UNIT_PRESET_TEXT" val="单击此处编辑母版文本样式&#10;第二级&#10;第三级&#10;第四级&#10;第五级"/>
  <p:tag name="KSO_WM_UNIT_ID" val="_5*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Lst>
</file>

<file path=ppt/tags/tag41.xml><?xml version="1.0" encoding="utf-8"?>
<p:tagLst xmlns:p="http://schemas.openxmlformats.org/presentationml/2006/main">
  <p:tag name="KSO_WM_UNIT_TYPE" val="f"/>
  <p:tag name="KSO_WM_UNIT_SUBTYPE" val="a"/>
  <p:tag name="KSO_WM_UNIT_INDEX" val="2"/>
  <p:tag name="KSO_WM_BEAUTIFY_FLAG" val="#wm#"/>
  <p:tag name="KSO_WM_TAG_VERSION" val="3.0"/>
  <p:tag name="KSO_WM_UNIT_PRESET_TEXT" val="单击此处编辑母版文本样式&#10;第二级&#10;第三级&#10;第四级&#10;第五级"/>
  <p:tag name="KSO_WM_UNIT_ID" val="_5*f*2"/>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Lst>
</file>

<file path=ppt/tags/tag42.xml><?xml version="1.0" encoding="utf-8"?>
<p:tagLst xmlns:p="http://schemas.openxmlformats.org/presentationml/2006/main">
  <p:tag name="KSO_WM_UNIT_ID" val="_5**"/>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43.xml><?xml version="1.0" encoding="utf-8"?>
<p:tagLst xmlns:p="http://schemas.openxmlformats.org/presentationml/2006/main">
  <p:tag name="KSO_WM_UNIT_ID" val="_5**"/>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44.xml><?xml version="1.0" encoding="utf-8"?>
<p:tagLst xmlns:p="http://schemas.openxmlformats.org/presentationml/2006/main">
  <p:tag name="KSO_WM_UNIT_ID" val="_5**"/>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45.xml><?xml version="1.0" encoding="utf-8"?>
<p:tagLst xmlns:p="http://schemas.openxmlformats.org/presentationml/2006/main">
  <p:tag name="KSO_WM_UNIT_TYPE" val="h_a"/>
  <p:tag name="KSO_WM_UNIT_INDEX" val="1_1"/>
  <p:tag name="KSO_WM_BEAUTIFY_FLAG" val="#wm#"/>
  <p:tag name="KSO_WM_TAG_VERSION" val="3.0"/>
  <p:tag name="KSO_WM_UNIT_PRESET_TEXT" val="单击此处编辑母版标题样式"/>
  <p:tag name="KSO_WM_UNIT_ID" val="_6*h_a*1_1"/>
  <p:tag name="KSO_WM_UNIT_ISNUMDGMTITLE" val="0"/>
  <p:tag name="KSO_WM_UNIT_NOCLEAR" val="0"/>
  <p:tag name="KSO_WM_UNIT_HIGHLIGHT" val="0"/>
  <p:tag name="KSO_WM_UNIT_COMPATIBLE" val="0"/>
  <p:tag name="KSO_WM_UNIT_DIAGRAM_ISNUMVISUAL" val="0"/>
  <p:tag name="KSO_WM_UNIT_DIAGRAM_ISREFERUNIT" val="0"/>
  <p:tag name="KSO_WM_UNIT_LAYERLEVEL" val="1_1"/>
  <p:tag name="KSO_WM_UNIT_ISCONTENTSTITLE" val="0"/>
  <p:tag name="KSO_WM_UNIT_VALUE" val="20"/>
</p:tagLst>
</file>

<file path=ppt/tags/tag46.xml><?xml version="1.0" encoding="utf-8"?>
<p:tagLst xmlns:p="http://schemas.openxmlformats.org/presentationml/2006/main">
  <p:tag name="KSO_WM_UNIT_TYPE" val="h_f"/>
  <p:tag name="KSO_WM_UNIT_SUBTYPE" val="a"/>
  <p:tag name="KSO_WM_UNIT_INDEX" val="1_1"/>
  <p:tag name="KSO_WM_BEAUTIFY_FLAG" val="#wm#"/>
  <p:tag name="KSO_WM_TAG_VERSION" val="3.0"/>
  <p:tag name="KSO_WM_UNIT_PRESET_TEXT" val="单击此处编辑母版文本样式&#10;第二级&#10;第三级&#10;第四级&#10;第五级"/>
  <p:tag name="KSO_WM_UNIT_ID" val="_6*h_f*1_1"/>
  <p:tag name="KSO_WM_UNIT_ISNUMDGMTITLE" val="0"/>
  <p:tag name="KSO_WM_UNIT_NOCLEAR" val="0"/>
  <p:tag name="KSO_WM_UNIT_HIGHLIGHT" val="0"/>
  <p:tag name="KSO_WM_UNIT_COMPATIBLE" val="0"/>
  <p:tag name="KSO_WM_UNIT_DIAGRAM_ISNUMVISUAL" val="0"/>
  <p:tag name="KSO_WM_UNIT_DIAGRAM_ISREFERUNIT" val="0"/>
  <p:tag name="KSO_WM_UNIT_LAYERLEVEL" val="1_1"/>
  <p:tag name="KSO_WM_UNIT_TEXT_LAYER_COUNT" val="1"/>
</p:tagLst>
</file>

<file path=ppt/tags/tag47.xml><?xml version="1.0" encoding="utf-8"?>
<p:tagLst xmlns:p="http://schemas.openxmlformats.org/presentationml/2006/main">
  <p:tag name="KSO_WM_UNIT_TYPE" val="h_a"/>
  <p:tag name="KSO_WM_UNIT_INDEX" val="2_1"/>
  <p:tag name="KSO_WM_BEAUTIFY_FLAG" val="#wm#"/>
  <p:tag name="KSO_WM_TAG_VERSION" val="3.0"/>
  <p:tag name="KSO_WM_UNIT_PRESET_TEXT" val="单击此处编辑母版标题样式"/>
  <p:tag name="KSO_WM_UNIT_ID" val="_6*h_a*2_1"/>
  <p:tag name="KSO_WM_UNIT_ISNUMDGMTITLE" val="0"/>
  <p:tag name="KSO_WM_UNIT_NOCLEAR" val="0"/>
  <p:tag name="KSO_WM_UNIT_HIGHLIGHT" val="0"/>
  <p:tag name="KSO_WM_UNIT_COMPATIBLE" val="0"/>
  <p:tag name="KSO_WM_UNIT_DIAGRAM_ISNUMVISUAL" val="0"/>
  <p:tag name="KSO_WM_UNIT_DIAGRAM_ISREFERUNIT" val="0"/>
  <p:tag name="KSO_WM_UNIT_LAYERLEVEL" val="1_1"/>
  <p:tag name="KSO_WM_UNIT_ISCONTENTSTITLE" val="0"/>
  <p:tag name="KSO_WM_UNIT_VALUE" val="20"/>
</p:tagLst>
</file>

<file path=ppt/tags/tag48.xml><?xml version="1.0" encoding="utf-8"?>
<p:tagLst xmlns:p="http://schemas.openxmlformats.org/presentationml/2006/main">
  <p:tag name="KSO_WM_UNIT_TYPE" val="h_f"/>
  <p:tag name="KSO_WM_UNIT_SUBTYPE" val="a"/>
  <p:tag name="KSO_WM_UNIT_INDEX" val="2_1"/>
  <p:tag name="KSO_WM_BEAUTIFY_FLAG" val="#wm#"/>
  <p:tag name="KSO_WM_TAG_VERSION" val="3.0"/>
  <p:tag name="KSO_WM_UNIT_PRESET_TEXT" val="单击此处编辑母版文本样式&#10;第二级&#10;第三级&#10;第四级&#10;第五级"/>
  <p:tag name="KSO_WM_UNIT_ID" val="_6*h_f*2_1"/>
  <p:tag name="KSO_WM_UNIT_ISNUMDGMTITLE" val="0"/>
  <p:tag name="KSO_WM_UNIT_NOCLEAR" val="0"/>
  <p:tag name="KSO_WM_UNIT_HIGHLIGHT" val="0"/>
  <p:tag name="KSO_WM_UNIT_COMPATIBLE" val="0"/>
  <p:tag name="KSO_WM_UNIT_DIAGRAM_ISNUMVISUAL" val="0"/>
  <p:tag name="KSO_WM_UNIT_DIAGRAM_ISREFERUNIT" val="0"/>
  <p:tag name="KSO_WM_UNIT_LAYERLEVEL" val="1_1"/>
  <p:tag name="KSO_WM_UNIT_TEXT_LAYER_COUNT" val="1"/>
</p:tagLst>
</file>

<file path=ppt/tags/tag49.xml><?xml version="1.0" encoding="utf-8"?>
<p:tagLst xmlns:p="http://schemas.openxmlformats.org/presentationml/2006/main">
  <p:tag name="KSO_WM_UNIT_ID" val="_6**"/>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xml><?xml version="1.0" encoding="utf-8"?>
<p:tagLst xmlns:p="http://schemas.openxmlformats.org/presentationml/2006/main">
  <p:tag name="KSO_WM_UNIT_ID" val="_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0.xml><?xml version="1.0" encoding="utf-8"?>
<p:tagLst xmlns:p="http://schemas.openxmlformats.org/presentationml/2006/main">
  <p:tag name="KSO_WM_UNIT_ID" val="_6**"/>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1.xml><?xml version="1.0" encoding="utf-8"?>
<p:tagLst xmlns:p="http://schemas.openxmlformats.org/presentationml/2006/main">
  <p:tag name="KSO_WM_UNIT_ID" val="_6**"/>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2.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6*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29"/>
</p:tagLst>
</file>

<file path=ppt/tags/tag53.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7*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29"/>
</p:tagLst>
</file>

<file path=ppt/tags/tag54.xml><?xml version="1.0" encoding="utf-8"?>
<p:tagLst xmlns:p="http://schemas.openxmlformats.org/presentationml/2006/main">
  <p:tag name="KSO_WM_UNIT_ID" val="_7**"/>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5.xml><?xml version="1.0" encoding="utf-8"?>
<p:tagLst xmlns:p="http://schemas.openxmlformats.org/presentationml/2006/main">
  <p:tag name="KSO_WM_UNIT_ID" val="_7**"/>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6.xml><?xml version="1.0" encoding="utf-8"?>
<p:tagLst xmlns:p="http://schemas.openxmlformats.org/presentationml/2006/main">
  <p:tag name="KSO_WM_UNIT_ID" val="_7**"/>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7.xml><?xml version="1.0" encoding="utf-8"?>
<p:tagLst xmlns:p="http://schemas.openxmlformats.org/presentationml/2006/main">
  <p:tag name="KSO_WM_UNIT_ID" val="_8**"/>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8.xml><?xml version="1.0" encoding="utf-8"?>
<p:tagLst xmlns:p="http://schemas.openxmlformats.org/presentationml/2006/main">
  <p:tag name="KSO_WM_UNIT_ID" val="_8**"/>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59.xml><?xml version="1.0" encoding="utf-8"?>
<p:tagLst xmlns:p="http://schemas.openxmlformats.org/presentationml/2006/main">
  <p:tag name="KSO_WM_UNIT_ID" val="_8**"/>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xml><?xml version="1.0" encoding="utf-8"?>
<p:tagLst xmlns:p="http://schemas.openxmlformats.org/presentationml/2006/main">
  <p:tag name="KSO_WM_UNIT_ID" val="_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0.xml><?xml version="1.0" encoding="utf-8"?>
<p:tagLst xmlns:p="http://schemas.openxmlformats.org/presentationml/2006/main">
  <p:tag name="KSO_WM_UNIT_TYPE" val="f"/>
  <p:tag name="KSO_WM_UNIT_SUBTYPE" val="a"/>
  <p:tag name="KSO_WM_UNIT_INDEX" val="1"/>
  <p:tag name="KSO_WM_BEAUTIFY_FLAG" val="#wm#"/>
  <p:tag name="KSO_WM_TAG_VERSION" val="3.0"/>
  <p:tag name="KSO_WM_UNIT_PRESET_TEXT" val="单击此处编辑母版文本样式&#10;第二级&#10;第三级&#10;第四级&#10;第五级"/>
  <p:tag name="KSO_WM_UNIT_ID" val="_9*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 name="KSO_WM_UNIT_VALUE" val="408"/>
</p:tagLst>
</file>

<file path=ppt/tags/tag61.xml><?xml version="1.0" encoding="utf-8"?>
<p:tagLst xmlns:p="http://schemas.openxmlformats.org/presentationml/2006/main">
  <p:tag name="KSO_WM_UNIT_ID" val="_9**"/>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2.xml><?xml version="1.0" encoding="utf-8"?>
<p:tagLst xmlns:p="http://schemas.openxmlformats.org/presentationml/2006/main">
  <p:tag name="KSO_WM_UNIT_ID" val="_9**"/>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3.xml><?xml version="1.0" encoding="utf-8"?>
<p:tagLst xmlns:p="http://schemas.openxmlformats.org/presentationml/2006/main">
  <p:tag name="KSO_WM_UNIT_ID" val="_9**"/>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4.xml><?xml version="1.0" encoding="utf-8"?>
<p:tagLst xmlns:p="http://schemas.openxmlformats.org/presentationml/2006/main">
  <p:tag name="KSO_WM_UNIT_TYPE" val="b"/>
  <p:tag name="KSO_WM_UNIT_INDEX" val="1"/>
  <p:tag name="KSO_WM_BEAUTIFY_FLAG" val="#wm#"/>
  <p:tag name="KSO_WM_TAG_VERSION" val="3.0"/>
  <p:tag name="KSO_WM_UNIT_PRESET_TEXT" val="单击此处编辑副标题"/>
  <p:tag name="KSO_WM_UNIT_ID" val="_10*b*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41"/>
</p:tagLst>
</file>

<file path=ppt/tags/tag65.xml><?xml version="1.0" encoding="utf-8"?>
<p:tagLst xmlns:p="http://schemas.openxmlformats.org/presentationml/2006/main">
  <p:tag name="KSO_WM_UNIT_ID" val="_1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6.xml><?xml version="1.0" encoding="utf-8"?>
<p:tagLst xmlns:p="http://schemas.openxmlformats.org/presentationml/2006/main">
  <p:tag name="KSO_WM_UNIT_ID" val="_1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7.xml><?xml version="1.0" encoding="utf-8"?>
<p:tagLst xmlns:p="http://schemas.openxmlformats.org/presentationml/2006/main">
  <p:tag name="KSO_WM_UNIT_ID" val="_1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68.xml><?xml version="1.0" encoding="utf-8"?>
<p:tagLst xmlns:p="http://schemas.openxmlformats.org/presentationml/2006/main">
  <p:tag name="KSO_WM_UNIT_TYPE" val="a"/>
  <p:tag name="KSO_WM_UNIT_INDEX" val="1"/>
  <p:tag name="KSO_WM_BEAUTIFY_FLAG" val="#wm#"/>
  <p:tag name="KSO_WM_TAG_VERSION" val="3.0"/>
  <p:tag name="KSO_WM_UNIT_PRESET_TEXT" val="单击此处编辑母版标题样式"/>
  <p:tag name="KSO_WM_UNIT_ID" val="_10*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29"/>
</p:tagLst>
</file>

<file path=ppt/tags/tag69.xml><?xml version="1.0" encoding="utf-8"?>
<p:tagLst xmlns:p="http://schemas.openxmlformats.org/presentationml/2006/main">
  <p:tag name="KSO_WM_UNIT_TYPE" val="i"/>
  <p:tag name="KSO_WM_UNIT_INDEX" val="1"/>
  <p:tag name="KSO_WM_BEAUTIFY_FLAG" val="#wm#"/>
  <p:tag name="KSO_WM_TAG_VERSION" val="3.0"/>
  <p:tag name="KSO_WM_UNIT_ID" val="_11*i*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xml><?xml version="1.0" encoding="utf-8"?>
<p:tagLst xmlns:p="http://schemas.openxmlformats.org/presentationml/2006/main">
  <p:tag name="KSO_WM_UNIT_TYPE" val="f"/>
  <p:tag name="KSO_WM_UNIT_SUBTYPE" val="b"/>
  <p:tag name="KSO_WM_UNIT_INDEX" val="1"/>
  <p:tag name="KSO_WM_BEAUTIFY_FLAG" val="#wm#"/>
  <p:tag name="KSO_WM_TAG_VERSION" val="3.0"/>
  <p:tag name="KSO_WM_UNIT_PRESET_TEXT" val="署名"/>
  <p:tag name="KSO_WM_UNIT_ID" val="_1*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 name="KSO_WM_UNIT_VALUE" val="8"/>
</p:tagLst>
</file>

<file path=ppt/tags/tag70.xml><?xml version="1.0" encoding="utf-8"?>
<p:tagLst xmlns:p="http://schemas.openxmlformats.org/presentationml/2006/main">
  <p:tag name="KSO_WM_UNIT_TYPE" val="a"/>
  <p:tag name="KSO_WM_UNIT_INDEX" val="1"/>
  <p:tag name="KSO_WM_BEAUTIFY_FLAG" val="#wm#"/>
  <p:tag name="KSO_WM_TAG_VERSION" val="3.0"/>
  <p:tag name="KSO_WM_UNIT_PRESET_TEXT" val="编辑母版标题"/>
  <p:tag name="KSO_WM_UNIT_ID" val="_11*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7"/>
</p:tagLst>
</file>

<file path=ppt/tags/tag71.xml><?xml version="1.0" encoding="utf-8"?>
<p:tagLst xmlns:p="http://schemas.openxmlformats.org/presentationml/2006/main">
  <p:tag name="KSO_WM_UNIT_TYPE" val="b"/>
  <p:tag name="KSO_WM_UNIT_INDEX" val="1"/>
  <p:tag name="KSO_WM_BEAUTIFY_FLAG" val="#wm#"/>
  <p:tag name="KSO_WM_TAG_VERSION" val="3.0"/>
  <p:tag name="KSO_WM_UNIT_PRESET_TEXT" val="单击此处编辑副标题"/>
  <p:tag name="KSO_WM_UNIT_ID" val="_11*b*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36"/>
</p:tagLst>
</file>

<file path=ppt/tags/tag72.xml><?xml version="1.0" encoding="utf-8"?>
<p:tagLst xmlns:p="http://schemas.openxmlformats.org/presentationml/2006/main">
  <p:tag name="KSO_WM_UNIT_ID" val="_1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3.xml><?xml version="1.0" encoding="utf-8"?>
<p:tagLst xmlns:p="http://schemas.openxmlformats.org/presentationml/2006/main">
  <p:tag name="KSO_WM_UNIT_ID" val="_1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4.xml><?xml version="1.0" encoding="utf-8"?>
<p:tagLst xmlns:p="http://schemas.openxmlformats.org/presentationml/2006/main">
  <p:tag name="KSO_WM_UNIT_ID" val="_11**"/>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5.xml><?xml version="1.0" encoding="utf-8"?>
<p:tagLst xmlns:p="http://schemas.openxmlformats.org/presentationml/2006/main">
  <p:tag name="KSO_WM_UNIT_TYPE" val="f"/>
  <p:tag name="KSO_WM_UNIT_SUBTYPE" val="b"/>
  <p:tag name="KSO_WM_UNIT_INDEX" val="1"/>
  <p:tag name="KSO_WM_BEAUTIFY_FLAG" val="#wm#"/>
  <p:tag name="KSO_WM_TAG_VERSION" val="3.0"/>
  <p:tag name="KSO_WM_UNIT_PRESET_TEXT" val="署名"/>
  <p:tag name="KSO_WM_UNIT_ID" val="_11*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Lst>
</file>

<file path=ppt/tags/tag76.xml><?xml version="1.0" encoding="utf-8"?>
<p:tagLst xmlns:p="http://schemas.openxmlformats.org/presentationml/2006/main">
  <p:tag name="KSO_WM_UNIT_TYPE" val="i"/>
  <p:tag name="KSO_WM_UNIT_INDEX" val="9"/>
  <p:tag name="KSO_WM_BEAUTIFY_FLAG" val="#wm#"/>
  <p:tag name="KSO_WM_TAG_VERSION" val="3.0"/>
  <p:tag name="KSO_WM_UNIT_ID" val="_11*i*9"/>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7.xml><?xml version="1.0" encoding="utf-8"?>
<p:tagLst xmlns:p="http://schemas.openxmlformats.org/presentationml/2006/main">
  <p:tag name="KSO_WM_UNIT_TYPE" val="i"/>
  <p:tag name="KSO_WM_UNIT_INDEX" val="2"/>
  <p:tag name="KSO_WM_BEAUTIFY_FLAG" val="#wm#"/>
  <p:tag name="KSO_WM_TAG_VERSION" val="3.0"/>
  <p:tag name="KSO_WM_UNIT_ID" val="_11*i*2"/>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8.xml><?xml version="1.0" encoding="utf-8"?>
<p:tagLst xmlns:p="http://schemas.openxmlformats.org/presentationml/2006/main">
  <p:tag name="KSO_WM_UNIT_TYPE" val="i"/>
  <p:tag name="KSO_WM_UNIT_INDEX" val="3"/>
  <p:tag name="KSO_WM_BEAUTIFY_FLAG" val="#wm#"/>
  <p:tag name="KSO_WM_TAG_VERSION" val="3.0"/>
  <p:tag name="KSO_WM_UNIT_ID" val="_11*i*3"/>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79.xml><?xml version="1.0" encoding="utf-8"?>
<p:tagLst xmlns:p="http://schemas.openxmlformats.org/presentationml/2006/main">
  <p:tag name="KSO_WM_UNIT_TYPE" val="i"/>
  <p:tag name="KSO_WM_UNIT_INDEX" val="4"/>
  <p:tag name="KSO_WM_BEAUTIFY_FLAG" val="#wm#"/>
  <p:tag name="KSO_WM_TAG_VERSION" val="3.0"/>
  <p:tag name="KSO_WM_UNIT_ID" val="_11*i*4"/>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xml><?xml version="1.0" encoding="utf-8"?>
<p:tagLst xmlns:p="http://schemas.openxmlformats.org/presentationml/2006/main">
  <p:tag name="KSO_WM_UNIT_TYPE" val="i"/>
  <p:tag name="KSO_WM_UNIT_INDEX" val="9"/>
  <p:tag name="KSO_WM_BEAUTIFY_FLAG" val="#wm#"/>
  <p:tag name="KSO_WM_TAG_VERSION" val="3.0"/>
  <p:tag name="KSO_WM_UNIT_ID" val="_1*i*9"/>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0.xml><?xml version="1.0" encoding="utf-8"?>
<p:tagLst xmlns:p="http://schemas.openxmlformats.org/presentationml/2006/main">
  <p:tag name="KSO_WM_UNIT_TYPE" val="i"/>
  <p:tag name="KSO_WM_UNIT_INDEX" val="5"/>
  <p:tag name="KSO_WM_BEAUTIFY_FLAG" val="#wm#"/>
  <p:tag name="KSO_WM_TAG_VERSION" val="3.0"/>
  <p:tag name="KSO_WM_UNIT_ID" val="_11*i*5"/>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1.xml><?xml version="1.0" encoding="utf-8"?>
<p:tagLst xmlns:p="http://schemas.openxmlformats.org/presentationml/2006/main">
  <p:tag name="KSO_WM_UNIT_TYPE" val="i"/>
  <p:tag name="KSO_WM_UNIT_INDEX" val="6"/>
  <p:tag name="KSO_WM_BEAUTIFY_FLAG" val="#wm#"/>
  <p:tag name="KSO_WM_TAG_VERSION" val="3.0"/>
  <p:tag name="KSO_WM_UNIT_ID" val="_11*i*6"/>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2.xml><?xml version="1.0" encoding="utf-8"?>
<p:tagLst xmlns:p="http://schemas.openxmlformats.org/presentationml/2006/main">
  <p:tag name="KSO_WM_UNIT_TYPE" val="i"/>
  <p:tag name="KSO_WM_UNIT_INDEX" val="7"/>
  <p:tag name="KSO_WM_BEAUTIFY_FLAG" val="#wm#"/>
  <p:tag name="KSO_WM_TAG_VERSION" val="3.0"/>
  <p:tag name="KSO_WM_UNIT_ID" val="_11*i*7"/>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3.xml><?xml version="1.0" encoding="utf-8"?>
<p:tagLst xmlns:p="http://schemas.openxmlformats.org/presentationml/2006/main">
  <p:tag name="KSO_WM_UNIT_TYPE" val="i"/>
  <p:tag name="KSO_WM_UNIT_INDEX" val="8"/>
  <p:tag name="KSO_WM_BEAUTIFY_FLAG" val="#wm#"/>
  <p:tag name="KSO_WM_TAG_VERSION" val="3.0"/>
  <p:tag name="KSO_WM_UNIT_ID" val="_11*i*8"/>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4.xml><?xml version="1.0" encoding="utf-8"?>
<p:tagLst xmlns:p="http://schemas.openxmlformats.org/presentationml/2006/main">
  <p:tag name="KSO_WM_UNIT_TYPE" val="i"/>
  <p:tag name="KSO_WM_UNIT_INDEX" val="1"/>
  <p:tag name="KSO_WM_BEAUTIFY_FLAG" val="#wm#"/>
  <p:tag name="KSO_WM_TAG_VERSION" val="3.0"/>
  <p:tag name="KSO_WM_UNIT_ID" val="_0*i*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5.xml><?xml version="1.0" encoding="utf-8"?>
<p:tagLst xmlns:p="http://schemas.openxmlformats.org/presentationml/2006/main">
  <p:tag name="KSO_WM_UNIT_TYPE" val="i"/>
  <p:tag name="KSO_WM_UNIT_INDEX" val="2"/>
  <p:tag name="KSO_WM_BEAUTIFY_FLAG" val="#wm#"/>
  <p:tag name="KSO_WM_TAG_VERSION" val="3.0"/>
  <p:tag name="KSO_WM_UNIT_ID" val="_0*i*2"/>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6.xml><?xml version="1.0" encoding="utf-8"?>
<p:tagLst xmlns:p="http://schemas.openxmlformats.org/presentationml/2006/main">
  <p:tag name="KSO_WM_UNIT_TYPE" val="i"/>
  <p:tag name="KSO_WM_UNIT_INDEX" val="3"/>
  <p:tag name="KSO_WM_BEAUTIFY_FLAG" val="#wm#"/>
  <p:tag name="KSO_WM_TAG_VERSION" val="3.0"/>
  <p:tag name="KSO_WM_UNIT_ID" val="_0*i*3"/>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7.xml><?xml version="1.0" encoding="utf-8"?>
<p:tagLst xmlns:p="http://schemas.openxmlformats.org/presentationml/2006/main">
  <p:tag name="KSO_WM_UNIT_TYPE" val="i"/>
  <p:tag name="KSO_WM_UNIT_INDEX" val="4"/>
  <p:tag name="KSO_WM_BEAUTIFY_FLAG" val="#wm#"/>
  <p:tag name="KSO_WM_TAG_VERSION" val="3.0"/>
  <p:tag name="KSO_WM_UNIT_ID" val="_0*i*4"/>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8.xml><?xml version="1.0" encoding="utf-8"?>
<p:tagLst xmlns:p="http://schemas.openxmlformats.org/presentationml/2006/main">
  <p:tag name="KSO_WM_UNIT_TYPE" val="i"/>
  <p:tag name="KSO_WM_UNIT_INDEX" val="5"/>
  <p:tag name="KSO_WM_BEAUTIFY_FLAG" val="#wm#"/>
  <p:tag name="KSO_WM_TAG_VERSION" val="3.0"/>
  <p:tag name="KSO_WM_UNIT_ID" val="_0*i*5"/>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89.xml><?xml version="1.0" encoding="utf-8"?>
<p:tagLst xmlns:p="http://schemas.openxmlformats.org/presentationml/2006/main">
  <p:tag name="KSO_WM_UNIT_TYPE" val="i"/>
  <p:tag name="KSO_WM_UNIT_INDEX" val="6"/>
  <p:tag name="KSO_WM_BEAUTIFY_FLAG" val="#wm#"/>
  <p:tag name="KSO_WM_TAG_VERSION" val="3.0"/>
  <p:tag name="KSO_WM_UNIT_ID" val="_0*i*6"/>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xml><?xml version="1.0" encoding="utf-8"?>
<p:tagLst xmlns:p="http://schemas.openxmlformats.org/presentationml/2006/main">
  <p:tag name="KSO_WM_UNIT_TYPE" val="i"/>
  <p:tag name="KSO_WM_UNIT_INDEX" val="2"/>
  <p:tag name="KSO_WM_BEAUTIFY_FLAG" val="#wm#"/>
  <p:tag name="KSO_WM_TAG_VERSION" val="3.0"/>
  <p:tag name="KSO_WM_UNIT_ID" val="_1*i*2"/>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0.xml><?xml version="1.0" encoding="utf-8"?>
<p:tagLst xmlns:p="http://schemas.openxmlformats.org/presentationml/2006/main">
  <p:tag name="KSO_WM_UNIT_TYPE" val="i"/>
  <p:tag name="KSO_WM_UNIT_INDEX" val="7"/>
  <p:tag name="KSO_WM_BEAUTIFY_FLAG" val="#wm#"/>
  <p:tag name="KSO_WM_TAG_VERSION" val="3.0"/>
  <p:tag name="KSO_WM_UNIT_ID" val="_0*i*7"/>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1.xml><?xml version="1.0" encoding="utf-8"?>
<p:tagLst xmlns:p="http://schemas.openxmlformats.org/presentationml/2006/main">
  <p:tag name="KSO_WM_UNIT_TYPE" val="i"/>
  <p:tag name="KSO_WM_UNIT_INDEX" val="8"/>
  <p:tag name="KSO_WM_BEAUTIFY_FLAG" val="#wm#"/>
  <p:tag name="KSO_WM_TAG_VERSION" val="3.0"/>
  <p:tag name="KSO_WM_UNIT_ID" val="_0*i*8"/>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2.xml><?xml version="1.0" encoding="utf-8"?>
<p:tagLst xmlns:p="http://schemas.openxmlformats.org/presentationml/2006/main">
  <p:tag name="KSO_WM_UNIT_TYPE" val="i"/>
  <p:tag name="KSO_WM_UNIT_INDEX" val="9"/>
  <p:tag name="KSO_WM_BEAUTIFY_FLAG" val="#wm#"/>
  <p:tag name="KSO_WM_TAG_VERSION" val="3.0"/>
  <p:tag name="KSO_WM_UNIT_ID" val="_0*i*9"/>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3.xml><?xml version="1.0" encoding="utf-8"?>
<p:tagLst xmlns:p="http://schemas.openxmlformats.org/presentationml/2006/main">
  <p:tag name="KSO_WM_UNIT_TYPE" val="a"/>
  <p:tag name="KSO_WM_UNIT_INDEX" val="1"/>
  <p:tag name="KSO_WM_BEAUTIFY_FLAG" val="#wm#"/>
  <p:tag name="KSO_WM_TAG_VERSION" val="1.0"/>
  <p:tag name="KSO_WM_UNIT_PRESET_TEXT" val="单击此处编辑母版标题样式"/>
  <p:tag name="KSO_WM_UNIT_ID" val="_0*a*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ISCONTENTSTITLE" val="0"/>
  <p:tag name="KSO_WM_UNIT_VALUE" val="30"/>
  <p:tag name="KSO_WM_TEMPLATE_CATEGORY" val="custom"/>
  <p:tag name="KSO_WM_TEMPLATE_INDEX" val="20238648"/>
</p:tagLst>
</file>

<file path=ppt/tags/tag94.xml><?xml version="1.0" encoding="utf-8"?>
<p:tagLst xmlns:p="http://schemas.openxmlformats.org/presentationml/2006/main">
  <p:tag name="KSO_WM_UNIT_TYPE" val="f"/>
  <p:tag name="KSO_WM_UNIT_SUBTYPE" val="a"/>
  <p:tag name="KSO_WM_UNIT_INDEX" val="1"/>
  <p:tag name="KSO_WM_BEAUTIFY_FLAG" val="#wm#"/>
  <p:tag name="KSO_WM_TAG_VERSION" val="1.0"/>
  <p:tag name="KSO_WM_UNIT_PRESET_TEXT" val="单击此处编辑母版文本样式&#10;第二级&#10;第三级&#10;第四级&#10;第五级"/>
  <p:tag name="KSO_WM_UNIT_ID" val="_0*f*1"/>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 name="KSO_WM_UNIT_TEXT_LAYER_COUNT" val="1"/>
  <p:tag name="KSO_WM_UNIT_VALUE" val="350"/>
  <p:tag name="KSO_WM_TEMPLATE_CATEGORY" val="custom"/>
  <p:tag name="KSO_WM_TEMPLATE_INDEX" val="20238648"/>
</p:tagLst>
</file>

<file path=ppt/tags/tag95.xml><?xml version="1.0" encoding="utf-8"?>
<p:tagLst xmlns:p="http://schemas.openxmlformats.org/presentationml/2006/main">
  <p:tag name="KSO_WM_UNIT_ID" val="_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6.xml><?xml version="1.0" encoding="utf-8"?>
<p:tagLst xmlns:p="http://schemas.openxmlformats.org/presentationml/2006/main">
  <p:tag name="KSO_WM_UNIT_ID" val="_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7.xml><?xml version="1.0" encoding="utf-8"?>
<p:tagLst xmlns:p="http://schemas.openxmlformats.org/presentationml/2006/main">
  <p:tag name="KSO_WM_UNIT_ID" val="_0**"/>
  <p:tag name="KSO_WM_BEAUTIFY_FLAG" val="#wm#"/>
  <p:tag name="KSO_WM_TAG_VERSION" val="3.0"/>
  <p:tag name="KSO_WM_UNIT_ISNUMDGMTITLE" val="0"/>
  <p:tag name="KSO_WM_UNIT_NOCLEAR" val="0"/>
  <p:tag name="KSO_WM_UNIT_HIGHLIGHT" val="0"/>
  <p:tag name="KSO_WM_UNIT_COMPATIBLE" val="0"/>
  <p:tag name="KSO_WM_UNIT_DIAGRAM_ISNUMVISUAL" val="0"/>
  <p:tag name="KSO_WM_UNIT_DIAGRAM_ISREFERUNIT" val="0"/>
  <p:tag name="KSO_WM_UNIT_LAYERLEVEL" val="1"/>
</p:tagLst>
</file>

<file path=ppt/tags/tag98.xml><?xml version="1.0" encoding="utf-8"?>
<p:tagLst xmlns:p="http://schemas.openxmlformats.org/presentationml/2006/main">
  <p:tag name="KSO_WM_TEMPLATE_SUBCATEGORY" val="29"/>
  <p:tag name="KSO_WM_TEMPLATE_COLOR_TYPE" val="0"/>
  <p:tag name="KSO_WM_TAG_VERSION" val="3.0"/>
  <p:tag name="KSO_WM_TEMPLATE_THUMBS_INDEX" val="1、9"/>
  <p:tag name="KSO_WM_BEAUTIFY_FLAG" val="#wm#"/>
  <p:tag name="KSO_WM_TEMPLATE_INDEX" val="20238648"/>
  <p:tag name="KSO_WM_TEMPLATE_CATEGORY" val="custom"/>
  <p:tag name="KSO_WM_TEMPLATE_MASTER_TYPE" val="0"/>
</p:tagLst>
</file>

<file path=ppt/tags/tag99.xml><?xml version="1.0" encoding="utf-8"?>
<p:tagLst xmlns:p="http://schemas.openxmlformats.org/presentationml/2006/main">
  <p:tag name="KSO_WM_BEAUTIFY_FLAG" val="#wm#"/>
  <p:tag name="KSO_WM_UNIT_HIGHLIGHT" val="0"/>
  <p:tag name="KSO_WM_UNIT_COMPATIBLE" val="0"/>
  <p:tag name="KSO_WM_UNIT_DIAGRAM_ISNUMVISUAL" val="0"/>
  <p:tag name="KSO_WM_UNIT_DIAGRAM_ISREFERUNIT" val="0"/>
  <p:tag name="KSO_WM_UNIT_TYPE" val="i"/>
  <p:tag name="KSO_WM_UNIT_INDEX" val="1"/>
  <p:tag name="KSO_WM_UNIT_ID" val="_11*i*1"/>
  <p:tag name="KSO_WM_UNIT_LAYERLEVEL" val="1"/>
  <p:tag name="KSO_WM_TAG_VERSION" val="3.0"/>
</p:tagLst>
</file>

<file path=ppt/theme/theme1.xml><?xml version="1.0" encoding="utf-8"?>
<a:theme xmlns:a="http://schemas.openxmlformats.org/drawingml/2006/main" name="0093">
  <a:themeElements>
    <a:clrScheme name="0093 2">
      <a:dk1>
        <a:srgbClr val="1D528D"/>
      </a:dk1>
      <a:lt1>
        <a:srgbClr val="FFFFFF"/>
      </a:lt1>
      <a:dk2>
        <a:srgbClr val="000000"/>
      </a:dk2>
      <a:lt2>
        <a:srgbClr val="CACACA"/>
      </a:lt2>
      <a:accent1>
        <a:srgbClr val="0099CC"/>
      </a:accent1>
      <a:accent2>
        <a:srgbClr val="CC9900"/>
      </a:accent2>
      <a:accent3>
        <a:srgbClr val="FFFFFF"/>
      </a:accent3>
      <a:accent4>
        <a:srgbClr val="174578"/>
      </a:accent4>
      <a:accent5>
        <a:srgbClr val="AACAE2"/>
      </a:accent5>
      <a:accent6>
        <a:srgbClr val="B98A00"/>
      </a:accent6>
      <a:hlink>
        <a:srgbClr val="6E81E0"/>
      </a:hlink>
      <a:folHlink>
        <a:srgbClr val="969696"/>
      </a:folHlink>
    </a:clrScheme>
    <a:fontScheme name="0093">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Tx/>
          <a:buNone/>
          <a:defRPr kumimoji="0" lang="en-US" sz="1800" b="0" i="0" u="none" strike="noStrike" cap="none" normalizeH="0" baseline="0" smtClean="0">
            <a:ln>
              <a:noFill/>
            </a:ln>
            <a:solidFill>
              <a:schemeClr val="tx1"/>
            </a:solidFill>
            <a:effectLst/>
            <a:latin typeface="Times New Roman" panose="02020603050405020304"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Tx/>
          <a:buNone/>
          <a:defRPr kumimoji="0" lang="en-US" sz="1800" b="0" i="0" u="none" strike="noStrike" cap="none" normalizeH="0" baseline="0" smtClean="0">
            <a:ln>
              <a:noFill/>
            </a:ln>
            <a:solidFill>
              <a:schemeClr val="tx1"/>
            </a:solidFill>
            <a:effectLst/>
            <a:latin typeface="Times New Roman" panose="02020603050405020304" pitchFamily="18" charset="0"/>
          </a:defRPr>
        </a:defPPr>
      </a:lstStyle>
    </a:lnDef>
    <a:txDef>
      <a:spPr>
        <a:noFill/>
      </a:spPr>
      <a:bodyPr wrap="square" rtlCol="0">
        <a:noAutofit/>
      </a:bodyPr>
      <a:lstStyle>
        <a:defPPr>
          <a:defRPr lang="zh-CN" altLang="en-US" sz="2400">
            <a:ln w="9525" cmpd="sng">
              <a:solidFill>
                <a:srgbClr val="FF0000"/>
              </a:solidFill>
              <a:prstDash val="solid"/>
            </a:ln>
            <a:solidFill>
              <a:srgbClr val="70AD47">
                <a:tint val="1000"/>
              </a:srgbClr>
            </a:solidFill>
            <a:effectLst/>
          </a:defRPr>
        </a:defPPr>
      </a:lstStyle>
    </a:txDef>
  </a:objectDefaults>
  <a:extraClrSchemeLst>
    <a:extraClrScheme>
      <a:clrScheme name="0093 1">
        <a:dk1>
          <a:srgbClr val="666699"/>
        </a:dk1>
        <a:lt1>
          <a:srgbClr val="FFFFFF"/>
        </a:lt1>
        <a:dk2>
          <a:srgbClr val="000000"/>
        </a:dk2>
        <a:lt2>
          <a:srgbClr val="DDDDDD"/>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
      <a:clrScheme name="0093 2">
        <a:dk1>
          <a:srgbClr val="1D528D"/>
        </a:dk1>
        <a:lt1>
          <a:srgbClr val="FFFFFF"/>
        </a:lt1>
        <a:dk2>
          <a:srgbClr val="000000"/>
        </a:dk2>
        <a:lt2>
          <a:srgbClr val="CACACA"/>
        </a:lt2>
        <a:accent1>
          <a:srgbClr val="0099CC"/>
        </a:accent1>
        <a:accent2>
          <a:srgbClr val="CC9900"/>
        </a:accent2>
        <a:accent3>
          <a:srgbClr val="FFFFFF"/>
        </a:accent3>
        <a:accent4>
          <a:srgbClr val="174578"/>
        </a:accent4>
        <a:accent5>
          <a:srgbClr val="AACAE2"/>
        </a:accent5>
        <a:accent6>
          <a:srgbClr val="B98A00"/>
        </a:accent6>
        <a:hlink>
          <a:srgbClr val="6E81E0"/>
        </a:hlink>
        <a:folHlink>
          <a:srgbClr val="969696"/>
        </a:folHlink>
      </a:clrScheme>
      <a:clrMap bg1="lt1" tx1="dk1" bg2="lt2" tx2="dk2" accent1="accent1" accent2="accent2" accent3="accent3" accent4="accent4" accent5="accent5" accent6="accent6" hlink="hlink" folHlink="folHlink"/>
    </a:extraClrScheme>
    <a:extraClrScheme>
      <a:clrScheme name="0093 3">
        <a:dk1>
          <a:srgbClr val="4E40A4"/>
        </a:dk1>
        <a:lt1>
          <a:srgbClr val="FFFFFF"/>
        </a:lt1>
        <a:dk2>
          <a:srgbClr val="000000"/>
        </a:dk2>
        <a:lt2>
          <a:srgbClr val="CCCCCC"/>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科技风人工智能通用模板">
  <a:themeElements>
    <a:clrScheme name="人工智能ai">
      <a:dk1>
        <a:srgbClr val="000000"/>
      </a:dk1>
      <a:lt1>
        <a:srgbClr val="FFFFFF"/>
      </a:lt1>
      <a:dk2>
        <a:srgbClr val="001548"/>
      </a:dk2>
      <a:lt2>
        <a:srgbClr val="F6F6F6"/>
      </a:lt2>
      <a:accent1>
        <a:srgbClr val="00CEC2"/>
      </a:accent1>
      <a:accent2>
        <a:srgbClr val="FF1FAA"/>
      </a:accent2>
      <a:accent3>
        <a:srgbClr val="9B50FE"/>
      </a:accent3>
      <a:accent4>
        <a:srgbClr val="16D28D"/>
      </a:accent4>
      <a:accent5>
        <a:srgbClr val="F84949"/>
      </a:accent5>
      <a:accent6>
        <a:srgbClr val="FABC00"/>
      </a:accent6>
      <a:hlink>
        <a:srgbClr val="304FFE"/>
      </a:hlink>
      <a:folHlink>
        <a:srgbClr val="492067"/>
      </a:folHlink>
    </a:clrScheme>
    <a:fontScheme name="自定义 45">
      <a:majorFont>
        <a:latin typeface="MiSans Heavy"/>
        <a:ea typeface="微软雅黑"/>
        <a:cs typeface=""/>
      </a:majorFont>
      <a:minorFont>
        <a:latin typeface="MiSans Heavy"/>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自定义 386">
      <a:dk1>
        <a:sysClr val="windowText" lastClr="000000"/>
      </a:dk1>
      <a:lt1>
        <a:sysClr val="window" lastClr="FFFFFF"/>
      </a:lt1>
      <a:dk2>
        <a:srgbClr val="170058"/>
      </a:dk2>
      <a:lt2>
        <a:srgbClr val="F4F3FF"/>
      </a:lt2>
      <a:accent1>
        <a:srgbClr val="8C79FF"/>
      </a:accent1>
      <a:accent2>
        <a:srgbClr val="6A5BFF"/>
      </a:accent2>
      <a:accent3>
        <a:srgbClr val="FB73F5"/>
      </a:accent3>
      <a:accent4>
        <a:srgbClr val="A3BDFF"/>
      </a:accent4>
      <a:accent5>
        <a:srgbClr val="71CAF0"/>
      </a:accent5>
      <a:accent6>
        <a:srgbClr val="F2AB51"/>
      </a:accent6>
      <a:hlink>
        <a:srgbClr val="658BD5"/>
      </a:hlink>
      <a:folHlink>
        <a:srgbClr val="A16AA5"/>
      </a:folHlink>
    </a:clrScheme>
    <a:fontScheme name="自定义 26">
      <a:majorFont>
        <a:latin typeface="MiSans Bold"/>
        <a:ea typeface="微软雅黑"/>
        <a:cs typeface=""/>
      </a:majorFont>
      <a:minorFont>
        <a:latin typeface="MiSans Bold"/>
        <a:ea typeface="MiSans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093</Template>
  <TotalTime>0</TotalTime>
  <Words>6079</Words>
  <Application>WPS 演示</Application>
  <PresentationFormat>全屏显示(4:3)</PresentationFormat>
  <Paragraphs>649</Paragraphs>
  <Slides>54</Slides>
  <Notes>9</Notes>
  <HiddenSlides>0</HiddenSlides>
  <MMClips>0</MMClips>
  <ScaleCrop>false</ScaleCrop>
  <HeadingPairs>
    <vt:vector size="8" baseType="variant">
      <vt:variant>
        <vt:lpstr>已用的字体</vt:lpstr>
      </vt:variant>
      <vt:variant>
        <vt:i4>26</vt:i4>
      </vt:variant>
      <vt:variant>
        <vt:lpstr>主题</vt:lpstr>
      </vt:variant>
      <vt:variant>
        <vt:i4>3</vt:i4>
      </vt:variant>
      <vt:variant>
        <vt:lpstr>嵌入 OLE 服务器</vt:lpstr>
      </vt:variant>
      <vt:variant>
        <vt:i4>3</vt:i4>
      </vt:variant>
      <vt:variant>
        <vt:lpstr>幻灯片标题</vt:lpstr>
      </vt:variant>
      <vt:variant>
        <vt:i4>54</vt:i4>
      </vt:variant>
    </vt:vector>
  </HeadingPairs>
  <TitlesOfParts>
    <vt:vector size="86" baseType="lpstr">
      <vt:lpstr>Arial</vt:lpstr>
      <vt:lpstr>宋体</vt:lpstr>
      <vt:lpstr>Wingdings</vt:lpstr>
      <vt:lpstr>Times New Roman</vt:lpstr>
      <vt:lpstr>Verdana</vt:lpstr>
      <vt:lpstr>Open Sans Semibold</vt:lpstr>
      <vt:lpstr>Segoe Print</vt:lpstr>
      <vt:lpstr>Open Sans Light</vt:lpstr>
      <vt:lpstr>Open Sans Semibold</vt:lpstr>
      <vt:lpstr>Lucida Grande</vt:lpstr>
      <vt:lpstr>Wingdings</vt:lpstr>
      <vt:lpstr>Arial Unicode MS</vt:lpstr>
      <vt:lpstr>微软雅黑</vt:lpstr>
      <vt:lpstr>华文楷体</vt:lpstr>
      <vt:lpstr>Calibri</vt:lpstr>
      <vt:lpstr>Open Sans</vt:lpstr>
      <vt:lpstr>Open Sans</vt:lpstr>
      <vt:lpstr>楷体</vt:lpstr>
      <vt:lpstr>Source Han Sans SC Bold</vt:lpstr>
      <vt:lpstr>Regular Clarivate</vt:lpstr>
      <vt:lpstr>Segoe UI</vt:lpstr>
      <vt:lpstr>MiSans Heavy</vt:lpstr>
      <vt:lpstr>Arial Unicode MS</vt:lpstr>
      <vt:lpstr>Lucida Grande</vt:lpstr>
      <vt:lpstr>MiSans Light</vt:lpstr>
      <vt:lpstr>MiSans Bold</vt:lpstr>
      <vt:lpstr>0093</vt:lpstr>
      <vt:lpstr>科技风人工智能通用模板</vt:lpstr>
      <vt:lpstr>1_Office 主题​​</vt:lpstr>
      <vt:lpstr>TCLayout.ActiveDocument.1</vt:lpstr>
      <vt:lpstr>TCLayout.ActiveDocument.1</vt:lpstr>
      <vt:lpstr>TCLayout.ActiveDocument.1</vt:lpstr>
      <vt:lpstr>如何高效挖掘国际前沿成果 与提升学位论文质量</vt:lpstr>
      <vt:lpstr>PQDT悠久的历史</vt:lpstr>
      <vt:lpstr>学位论文的学术价值</vt:lpstr>
      <vt:lpstr>学位论文的学术价值</vt:lpstr>
      <vt:lpstr>学位论文的学术价值</vt:lpstr>
      <vt:lpstr>学位论文的学术价值</vt:lpstr>
      <vt:lpstr>PowerPoint 演示文稿</vt:lpstr>
      <vt:lpstr>2025年斯隆研究奖计算机方向</vt:lpstr>
      <vt:lpstr>PowerPoint 演示文稿</vt:lpstr>
      <vt:lpstr>PowerPoint 演示文稿</vt:lpstr>
      <vt:lpstr>PQDT 资源</vt:lpstr>
      <vt:lpstr>权威图书馆认可的资源</vt:lpstr>
      <vt:lpstr>来自全球权威和顶级的高校</vt:lpstr>
      <vt:lpstr>PQDT 内容构成特点</vt:lpstr>
      <vt:lpstr>PowerPoint 演示文稿</vt:lpstr>
      <vt:lpstr>PQDT 学科分布情况 – 中国组团</vt:lpstr>
      <vt:lpstr>2024年图灵奖</vt:lpstr>
      <vt:lpstr>PQDT新平台首页 www.pqdtcn.com</vt:lpstr>
      <vt:lpstr> PQDT新平台检索结果页面</vt:lpstr>
      <vt:lpstr> PQDT新平台检索结果页面</vt:lpstr>
      <vt:lpstr> PQDT新平台检索结果页面</vt:lpstr>
      <vt:lpstr> PQDT新平台检索结果页面</vt:lpstr>
      <vt:lpstr> 庞大数据后的筛选功能</vt:lpstr>
      <vt:lpstr> PQDT新平台检索结果页面</vt:lpstr>
      <vt:lpstr> PQDT新平台检索结果页面</vt:lpstr>
      <vt:lpstr> PQDT新平台检索结果页面</vt:lpstr>
      <vt:lpstr> PQDT新平台检索结果页面</vt:lpstr>
      <vt:lpstr> PQDT新平台检索结果页面</vt:lpstr>
      <vt:lpstr> PQDT新平台检索结果页面</vt:lpstr>
      <vt:lpstr> PQDT新平台论文详情页面</vt:lpstr>
      <vt:lpstr> PQDT新平台高级检索</vt:lpstr>
      <vt:lpstr>PowerPoint 演示文稿</vt:lpstr>
      <vt:lpstr> PQDT新平台分类导航</vt:lpstr>
      <vt:lpstr> PQDT新平台高级检索</vt:lpstr>
      <vt:lpstr> PQDT新平台高级检索</vt:lpstr>
      <vt:lpstr> PQDT新平台高级检索</vt:lpstr>
      <vt:lpstr>PowerPoint 演示文稿</vt:lpstr>
      <vt:lpstr>PowerPoint 演示文稿</vt:lpstr>
      <vt:lpstr> PQDT新平台高级检索</vt:lpstr>
      <vt:lpstr> PQDT新平台分类导航</vt:lpstr>
      <vt:lpstr>PowerPoint 演示文稿</vt:lpstr>
      <vt:lpstr> PQDT新平台分类导航</vt:lpstr>
      <vt:lpstr>QS全球高校排名</vt:lpstr>
      <vt:lpstr>PowerPoint 演示文稿</vt:lpstr>
      <vt:lpstr>PowerPoint 演示文稿</vt:lpstr>
      <vt:lpstr>
PQDT 新平台个性化账号登陆</vt:lpstr>
      <vt:lpstr>
PQDT 新平台个性化账号注册</vt:lpstr>
      <vt:lpstr>
PQDT新平台个性化账号注册</vt:lpstr>
      <vt:lpstr>
PQDT 新平台个性化账号界面</vt:lpstr>
      <vt:lpstr>
PQDT 新平台个性化账号界面</vt:lpstr>
      <vt:lpstr>
PQDT 新平台检索结果页面</vt:lpstr>
      <vt:lpstr>
PQDT新平台个性化账号界面</vt:lpstr>
      <vt:lpstr>
PQDT新平台个性化荐购跟踪</vt:lpstr>
      <vt:lpstr>Thank You !</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User</dc:creator>
  <cp:lastModifiedBy>hanchy</cp:lastModifiedBy>
  <cp:revision>1599</cp:revision>
  <cp:lastPrinted>2411-12-30T00:00:00Z</cp:lastPrinted>
  <dcterms:created xsi:type="dcterms:W3CDTF">2009-04-29T05:12:00Z</dcterms:created>
  <dcterms:modified xsi:type="dcterms:W3CDTF">2026-02-25T01: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657</vt:lpwstr>
  </property>
  <property fmtid="{D5CDD505-2E9C-101B-9397-08002B2CF9AE}" pid="3" name="ICV">
    <vt:lpwstr>78396B906E7E4708926FC7EEF5624A69</vt:lpwstr>
  </property>
  <property fmtid="{D5CDD505-2E9C-101B-9397-08002B2CF9AE}" pid="4" name="KSOSaveFontToCloudKey">
    <vt:lpwstr>329978293_btnclosed</vt:lpwstr>
  </property>
</Properties>
</file>